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wmf" ContentType="image/x-w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activeX/activeX1.xml" ContentType="application/vnd.ms-office.activeX+xml"/>
  <Override PartName="/ppt/activeX/activeX1.bin" ContentType="application/vnd.ms-office.activeX"/>
  <Override PartName="/ppt/activeX/activeX2.xml" ContentType="application/vnd.ms-office.activeX+xml"/>
  <Override PartName="/ppt/activeX/activeX2.bin" ContentType="application/vnd.ms-office.activeX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68" r:id="rId1"/>
  </p:sldMasterIdLst>
  <p:notesMasterIdLst>
    <p:notesMasterId r:id="rId14"/>
  </p:notesMasterIdLst>
  <p:sldIdLst>
    <p:sldId id="256" r:id="rId2"/>
    <p:sldId id="257" r:id="rId3"/>
    <p:sldId id="259" r:id="rId4"/>
    <p:sldId id="261" r:id="rId5"/>
    <p:sldId id="260" r:id="rId6"/>
    <p:sldId id="258" r:id="rId7"/>
    <p:sldId id="262" r:id="rId8"/>
    <p:sldId id="263" r:id="rId9"/>
    <p:sldId id="264" r:id="rId10"/>
    <p:sldId id="266" r:id="rId11"/>
    <p:sldId id="267" r:id="rId12"/>
    <p:sldId id="268" r:id="rId13"/>
  </p:sldIdLst>
  <p:sldSz cx="12192000" cy="6858000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9630" autoAdjust="0"/>
    <p:restoredTop sz="94660"/>
  </p:normalViewPr>
  <p:slideViewPr>
    <p:cSldViewPr snapToGrid="0">
      <p:cViewPr varScale="1">
        <p:scale>
          <a:sx n="29" d="100"/>
          <a:sy n="29" d="100"/>
        </p:scale>
        <p:origin x="29" y="1229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/Relationships>
</file>

<file path=ppt/activeX/_rels/activeX1.xml.rels><?xml version="1.0" encoding="UTF-8" standalone="yes"?>
<Relationships xmlns="http://schemas.openxmlformats.org/package/2006/relationships"><Relationship Id="rId1" Type="http://schemas.microsoft.com/office/2006/relationships/activeXControlBinary" Target="activeX1.bin"/></Relationships>
</file>

<file path=ppt/activeX/_rels/activeX2.xml.rels><?xml version="1.0" encoding="UTF-8" standalone="yes"?>
<Relationships xmlns="http://schemas.openxmlformats.org/package/2006/relationships"><Relationship Id="rId1" Type="http://schemas.microsoft.com/office/2006/relationships/activeXControlBinary" Target="activeX2.bin"/></Relationships>
</file>

<file path=ppt/activeX/activeX1.xml><?xml version="1.0" encoding="utf-8"?>
<ax:ocx xmlns:ax="http://schemas.microsoft.com/office/2006/activeX" xmlns:r="http://schemas.openxmlformats.org/officeDocument/2006/relationships" ax:classid="{D7053240-CE69-11CD-A777-00DD01143C57}" ax:persistence="persistStorage" r:id="rId1"/>
</file>

<file path=ppt/activeX/activeX2.xml><?xml version="1.0" encoding="utf-8"?>
<ax:ocx xmlns:ax="http://schemas.microsoft.com/office/2006/activeX" xmlns:r="http://schemas.openxmlformats.org/officeDocument/2006/relationships" ax:classid="{D7053240-CE69-11CD-A777-00DD01143C57}" ax:persistence="persistStorage" r:id="rId1"/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2" Type="http://schemas.openxmlformats.org/officeDocument/2006/relationships/image" Target="../media/image3.wmf"/><Relationship Id="rId1" Type="http://schemas.openxmlformats.org/officeDocument/2006/relationships/image" Target="../media/image2.w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C0F5871-F9D4-4D8C-B50E-BAFE3DE202BF}" type="datetimeFigureOut">
              <a:rPr lang="en-US" smtClean="0"/>
              <a:t>1/27/2017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B6E8E1D-D59D-49DD-BC92-355D52AD454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6149939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783252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1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589213" y="2514600"/>
            <a:ext cx="8915399" cy="2262781"/>
          </a:xfrm>
        </p:spPr>
        <p:txBody>
          <a:bodyPr anchor="b">
            <a:normAutofit/>
          </a:bodyPr>
          <a:lstStyle>
            <a:lvl1pPr>
              <a:defRPr sz="5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589213" y="4777379"/>
            <a:ext cx="8915399" cy="1126283"/>
          </a:xfrm>
        </p:spPr>
        <p:txBody>
          <a:bodyPr anchor="t"/>
          <a:lstStyle>
            <a:lvl1pPr marL="0" indent="0" algn="l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FD0F41-64FC-41F3-B61A-6432F7EFBAD2}" type="datetimeFigureOut">
              <a:rPr lang="en-US" smtClean="0"/>
              <a:t>1/27/20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Freeform 6"/>
          <p:cNvSpPr/>
          <p:nvPr/>
        </p:nvSpPr>
        <p:spPr bwMode="auto">
          <a:xfrm>
            <a:off x="0" y="4323810"/>
            <a:ext cx="1744652" cy="778589"/>
          </a:xfrm>
          <a:custGeom>
            <a:avLst/>
            <a:gdLst/>
            <a:ahLst/>
            <a:cxnLst/>
            <a:rect l="0" t="0" r="r" b="b"/>
            <a:pathLst>
              <a:path w="372" h="166">
                <a:moveTo>
                  <a:pt x="287" y="166"/>
                </a:moveTo>
                <a:cubicBezTo>
                  <a:pt x="290" y="166"/>
                  <a:pt x="292" y="165"/>
                  <a:pt x="293" y="164"/>
                </a:cubicBezTo>
                <a:cubicBezTo>
                  <a:pt x="293" y="163"/>
                  <a:pt x="294" y="163"/>
                  <a:pt x="294" y="163"/>
                </a:cubicBezTo>
                <a:cubicBezTo>
                  <a:pt x="370" y="87"/>
                  <a:pt x="370" y="87"/>
                  <a:pt x="370" y="87"/>
                </a:cubicBezTo>
                <a:cubicBezTo>
                  <a:pt x="372" y="85"/>
                  <a:pt x="372" y="81"/>
                  <a:pt x="370" y="78"/>
                </a:cubicBezTo>
                <a:cubicBezTo>
                  <a:pt x="294" y="3"/>
                  <a:pt x="294" y="3"/>
                  <a:pt x="294" y="3"/>
                </a:cubicBezTo>
                <a:cubicBezTo>
                  <a:pt x="294" y="2"/>
                  <a:pt x="293" y="2"/>
                  <a:pt x="293" y="2"/>
                </a:cubicBezTo>
                <a:cubicBezTo>
                  <a:pt x="292" y="1"/>
                  <a:pt x="290" y="0"/>
                  <a:pt x="287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166"/>
                  <a:pt x="0" y="166"/>
                  <a:pt x="0" y="166"/>
                </a:cubicBezTo>
                <a:lnTo>
                  <a:pt x="287" y="166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31812" y="4529540"/>
            <a:ext cx="779767" cy="365125"/>
          </a:xfrm>
        </p:spPr>
        <p:txBody>
          <a:bodyPr/>
          <a:lstStyle/>
          <a:p>
            <a:fld id="{EAFAFA4D-4A2E-49A1-AAE8-4580FC5F6F6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692906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89212" y="609600"/>
            <a:ext cx="8915399" cy="3117040"/>
          </a:xfrm>
        </p:spPr>
        <p:txBody>
          <a:bodyPr anchor="ctr">
            <a:normAutofit/>
          </a:bodyPr>
          <a:lstStyle>
            <a:lvl1pPr algn="l">
              <a:defRPr sz="48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89212" y="4354046"/>
            <a:ext cx="8915399" cy="1555864"/>
          </a:xfrm>
        </p:spPr>
        <p:txBody>
          <a:bodyPr anchor="ctr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FD0F41-64FC-41F3-B61A-6432F7EFBAD2}" type="datetimeFigureOut">
              <a:rPr lang="en-US" smtClean="0"/>
              <a:t>1/27/20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Freeform 11"/>
          <p:cNvSpPr/>
          <p:nvPr/>
        </p:nvSpPr>
        <p:spPr bwMode="auto">
          <a:xfrm flipV="1">
            <a:off x="-4189" y="31781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31812" y="3244139"/>
            <a:ext cx="779767" cy="365125"/>
          </a:xfrm>
        </p:spPr>
        <p:txBody>
          <a:bodyPr/>
          <a:lstStyle/>
          <a:p>
            <a:fld id="{EAFAFA4D-4A2E-49A1-AAE8-4580FC5F6F6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6785435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49949" y="609600"/>
            <a:ext cx="8393926" cy="2895600"/>
          </a:xfrm>
        </p:spPr>
        <p:txBody>
          <a:bodyPr anchor="ctr">
            <a:normAutofit/>
          </a:bodyPr>
          <a:lstStyle>
            <a:lvl1pPr algn="l">
              <a:defRPr sz="48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3275012" y="3505200"/>
            <a:ext cx="7536554" cy="381000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6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89212" y="4354046"/>
            <a:ext cx="8915399" cy="1555864"/>
          </a:xfrm>
        </p:spPr>
        <p:txBody>
          <a:bodyPr anchor="ctr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FD0F41-64FC-41F3-B61A-6432F7EFBAD2}" type="datetimeFigureOut">
              <a:rPr lang="en-US" smtClean="0"/>
              <a:t>1/27/20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1" name="Freeform 11"/>
          <p:cNvSpPr/>
          <p:nvPr/>
        </p:nvSpPr>
        <p:spPr bwMode="auto">
          <a:xfrm flipV="1">
            <a:off x="-4189" y="31781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31812" y="3244139"/>
            <a:ext cx="779767" cy="365125"/>
          </a:xfrm>
        </p:spPr>
        <p:txBody>
          <a:bodyPr/>
          <a:lstStyle/>
          <a:p>
            <a:fld id="{EAFAFA4D-4A2E-49A1-AAE8-4580FC5F6F62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4" name="TextBox 13"/>
          <p:cNvSpPr txBox="1"/>
          <p:nvPr/>
        </p:nvSpPr>
        <p:spPr>
          <a:xfrm>
            <a:off x="2467652" y="648005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/>
                </a:solidFill>
                <a:effectLst/>
                <a:latin typeface="Arial"/>
              </a:rPr>
              <a:t>“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1114852" y="2905306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/>
                </a:solidFill>
                <a:effectLst/>
                <a:latin typeface="Arial"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25428834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89213" y="2438400"/>
            <a:ext cx="8915400" cy="2724845"/>
          </a:xfrm>
        </p:spPr>
        <p:txBody>
          <a:bodyPr anchor="b">
            <a:normAutofit/>
          </a:bodyPr>
          <a:lstStyle>
            <a:lvl1pPr algn="l">
              <a:defRPr sz="48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589213" y="5181600"/>
            <a:ext cx="8915400" cy="729622"/>
          </a:xfrm>
        </p:spPr>
        <p:txBody>
          <a:bodyPr vert="horz" lIns="91440" tIns="45720" rIns="91440" bIns="45720" rtlCol="0" anchor="t">
            <a:normAutofit/>
          </a:bodyPr>
          <a:lstStyle>
            <a:lvl1pPr>
              <a:buNone/>
              <a:defRPr lang="en-US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0" lvl="0" indent="0">
              <a:buNone/>
            </a:pPr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FD0F41-64FC-41F3-B61A-6432F7EFBAD2}" type="datetimeFigureOut">
              <a:rPr lang="en-US" smtClean="0"/>
              <a:t>1/27/2017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Freeform 11"/>
          <p:cNvSpPr/>
          <p:nvPr/>
        </p:nvSpPr>
        <p:spPr bwMode="auto">
          <a:xfrm flipV="1">
            <a:off x="-4189" y="491172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531812" y="4983087"/>
            <a:ext cx="779767" cy="365125"/>
          </a:xfrm>
        </p:spPr>
        <p:txBody>
          <a:bodyPr/>
          <a:lstStyle/>
          <a:p>
            <a:fld id="{EAFAFA4D-4A2E-49A1-AAE8-4580FC5F6F6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793066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2849949" y="609600"/>
            <a:ext cx="8393926" cy="2895600"/>
          </a:xfrm>
        </p:spPr>
        <p:txBody>
          <a:bodyPr anchor="ctr">
            <a:normAutofit/>
          </a:bodyPr>
          <a:lstStyle>
            <a:lvl1pPr algn="l">
              <a:defRPr sz="48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2589212" y="4343400"/>
            <a:ext cx="8915400" cy="838200"/>
          </a:xfrm>
        </p:spPr>
        <p:txBody>
          <a:bodyPr anchor="b">
            <a:noAutofit/>
          </a:bodyPr>
          <a:lstStyle>
            <a:lvl1pPr marL="0" indent="0">
              <a:buFontTx/>
              <a:buNone/>
              <a:defRPr sz="240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589213" y="5181600"/>
            <a:ext cx="8915400" cy="729622"/>
          </a:xfrm>
        </p:spPr>
        <p:txBody>
          <a:bodyPr vert="horz" lIns="91440" tIns="45720" rIns="91440" bIns="45720" rtlCol="0" anchor="t">
            <a:normAutofit/>
          </a:bodyPr>
          <a:lstStyle>
            <a:lvl1pPr>
              <a:buNone/>
              <a:defRPr lang="en-US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0" lvl="0" indent="0">
              <a:buNone/>
            </a:pPr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FD0F41-64FC-41F3-B61A-6432F7EFBAD2}" type="datetimeFigureOut">
              <a:rPr lang="en-US" smtClean="0"/>
              <a:t>1/27/2017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1" name="Freeform 11"/>
          <p:cNvSpPr/>
          <p:nvPr/>
        </p:nvSpPr>
        <p:spPr bwMode="auto">
          <a:xfrm flipV="1">
            <a:off x="-4189" y="491172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531812" y="4983087"/>
            <a:ext cx="779767" cy="365125"/>
          </a:xfrm>
        </p:spPr>
        <p:txBody>
          <a:bodyPr/>
          <a:lstStyle/>
          <a:p>
            <a:fld id="{EAFAFA4D-4A2E-49A1-AAE8-4580FC5F6F62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7" name="TextBox 16"/>
          <p:cNvSpPr txBox="1"/>
          <p:nvPr/>
        </p:nvSpPr>
        <p:spPr>
          <a:xfrm>
            <a:off x="2467652" y="648005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/>
                </a:solidFill>
                <a:effectLst/>
                <a:latin typeface="Arial"/>
              </a:rPr>
              <a:t>“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11114852" y="2905306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/>
                </a:solidFill>
                <a:effectLst/>
                <a:latin typeface="Arial"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221922603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rue or Fal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89212" y="627407"/>
            <a:ext cx="8915399" cy="2880020"/>
          </a:xfrm>
        </p:spPr>
        <p:txBody>
          <a:bodyPr anchor="ctr">
            <a:normAutofit/>
          </a:bodyPr>
          <a:lstStyle>
            <a:lvl1pPr algn="l">
              <a:defRPr sz="48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2589212" y="4343400"/>
            <a:ext cx="8915400" cy="838200"/>
          </a:xfrm>
        </p:spPr>
        <p:txBody>
          <a:bodyPr anchor="b">
            <a:noAutofit/>
          </a:bodyPr>
          <a:lstStyle>
            <a:lvl1pPr marL="0" indent="0">
              <a:buFontTx/>
              <a:buNone/>
              <a:defRPr sz="240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589213" y="5181600"/>
            <a:ext cx="8915400" cy="729622"/>
          </a:xfrm>
        </p:spPr>
        <p:txBody>
          <a:bodyPr vert="horz" lIns="91440" tIns="45720" rIns="91440" bIns="45720" rtlCol="0" anchor="t">
            <a:normAutofit/>
          </a:bodyPr>
          <a:lstStyle>
            <a:lvl1pPr>
              <a:buNone/>
              <a:defRPr lang="en-US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0" lvl="0" indent="0">
              <a:buNone/>
            </a:pPr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FD0F41-64FC-41F3-B61A-6432F7EFBAD2}" type="datetimeFigureOut">
              <a:rPr lang="en-US" smtClean="0"/>
              <a:t>1/27/2017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Freeform 11"/>
          <p:cNvSpPr/>
          <p:nvPr/>
        </p:nvSpPr>
        <p:spPr bwMode="auto">
          <a:xfrm flipV="1">
            <a:off x="-4189" y="491172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531812" y="4983087"/>
            <a:ext cx="779767" cy="365125"/>
          </a:xfrm>
        </p:spPr>
        <p:txBody>
          <a:bodyPr/>
          <a:lstStyle/>
          <a:p>
            <a:fld id="{EAFAFA4D-4A2E-49A1-AAE8-4580FC5F6F6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7826434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anchor="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FD0F41-64FC-41F3-B61A-6432F7EFBAD2}" type="datetimeFigureOut">
              <a:rPr lang="en-US" smtClean="0"/>
              <a:t>1/27/20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Freeform 11"/>
          <p:cNvSpPr/>
          <p:nvPr/>
        </p:nvSpPr>
        <p:spPr bwMode="auto">
          <a:xfrm flipV="1">
            <a:off x="-4189" y="7143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FAFA4D-4A2E-49A1-AAE8-4580FC5F6F6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4685589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294812" y="627405"/>
            <a:ext cx="2207601" cy="5283817"/>
          </a:xfrm>
        </p:spPr>
        <p:txBody>
          <a:bodyPr vert="eaVert" anchor="ctr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2589212" y="627405"/>
            <a:ext cx="6477000" cy="5283817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FD0F41-64FC-41F3-B61A-6432F7EFBAD2}" type="datetimeFigureOut">
              <a:rPr lang="en-US" smtClean="0"/>
              <a:t>1/27/20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Freeform 11"/>
          <p:cNvSpPr/>
          <p:nvPr/>
        </p:nvSpPr>
        <p:spPr bwMode="auto">
          <a:xfrm flipV="1">
            <a:off x="-4189" y="7143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FAFA4D-4A2E-49A1-AAE8-4580FC5F6F6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1054082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1"/>
          <a:ext cx="180998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0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1"/>
                        <a:ext cx="180998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  <p:custDataLst>
              <p:tags r:id="rId4"/>
            </p:custDataLst>
          </p:nvPr>
        </p:nvSpPr>
        <p:spPr>
          <a:xfrm>
            <a:off x="420078" y="1495426"/>
            <a:ext cx="11351846" cy="4772025"/>
          </a:xfrm>
        </p:spPr>
        <p:txBody>
          <a:bodyPr/>
          <a:lstStyle>
            <a:lvl1pPr>
              <a:defRPr b="0"/>
            </a:lvl1pPr>
            <a:lvl2pPr marL="457200" indent="-228600">
              <a:defRPr/>
            </a:lvl2pPr>
            <a:lvl3pPr marL="685800" indent="-228600">
              <a:defRPr/>
            </a:lvl3pPr>
            <a:lvl4pPr>
              <a:defRPr/>
            </a:lvl4pPr>
            <a:lvl5pPr>
              <a:buNone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6235866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92925" y="624110"/>
            <a:ext cx="8911687" cy="128089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589212" y="2133600"/>
            <a:ext cx="8915400" cy="377762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FD0F41-64FC-41F3-B61A-6432F7EFBAD2}" type="datetimeFigureOut">
              <a:rPr lang="en-US" smtClean="0"/>
              <a:t>1/27/20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Freeform 11"/>
          <p:cNvSpPr/>
          <p:nvPr/>
        </p:nvSpPr>
        <p:spPr bwMode="auto">
          <a:xfrm flipV="1">
            <a:off x="-4189" y="7143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FAFA4D-4A2E-49A1-AAE8-4580FC5F6F6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3243312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89212" y="2058750"/>
            <a:ext cx="8915399" cy="1468800"/>
          </a:xfrm>
        </p:spPr>
        <p:txBody>
          <a:bodyPr anchor="b"/>
          <a:lstStyle>
            <a:lvl1pPr algn="l">
              <a:defRPr sz="40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89212" y="3530129"/>
            <a:ext cx="8915399" cy="860400"/>
          </a:xfrm>
        </p:spPr>
        <p:txBody>
          <a:bodyPr anchor="t"/>
          <a:lstStyle>
            <a:lvl1pPr marL="0" indent="0" algn="l">
              <a:buNone/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FD0F41-64FC-41F3-B61A-6432F7EFBAD2}" type="datetimeFigureOut">
              <a:rPr lang="en-US" smtClean="0"/>
              <a:t>1/27/20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Freeform 11"/>
          <p:cNvSpPr/>
          <p:nvPr/>
        </p:nvSpPr>
        <p:spPr bwMode="auto">
          <a:xfrm flipV="1">
            <a:off x="-4189" y="31781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31812" y="3244139"/>
            <a:ext cx="779767" cy="365125"/>
          </a:xfrm>
        </p:spPr>
        <p:txBody>
          <a:bodyPr/>
          <a:lstStyle/>
          <a:p>
            <a:fld id="{EAFAFA4D-4A2E-49A1-AAE8-4580FC5F6F6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608125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589212" y="2133600"/>
            <a:ext cx="4313864" cy="3777622"/>
          </a:xfrm>
        </p:spPr>
        <p:txBody>
          <a:bodyPr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190747" y="2126222"/>
            <a:ext cx="4313864" cy="3777622"/>
          </a:xfrm>
        </p:spPr>
        <p:txBody>
          <a:bodyPr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FD0F41-64FC-41F3-B61A-6432F7EFBAD2}" type="datetimeFigureOut">
              <a:rPr lang="en-US" smtClean="0"/>
              <a:t>1/27/2017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2" name="Freeform 11"/>
          <p:cNvSpPr/>
          <p:nvPr/>
        </p:nvSpPr>
        <p:spPr bwMode="auto">
          <a:xfrm flipV="1">
            <a:off x="-4189" y="7143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13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31812" y="787782"/>
            <a:ext cx="779767" cy="365125"/>
          </a:xfrm>
        </p:spPr>
        <p:txBody>
          <a:bodyPr/>
          <a:lstStyle/>
          <a:p>
            <a:fld id="{EAFAFA4D-4A2E-49A1-AAE8-4580FC5F6F6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3581378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939373" y="1972703"/>
            <a:ext cx="3992732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589212" y="2548966"/>
            <a:ext cx="4342893" cy="3354060"/>
          </a:xfrm>
        </p:spPr>
        <p:txBody>
          <a:bodyPr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7506629" y="1969475"/>
            <a:ext cx="3999001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7166957" y="2545738"/>
            <a:ext cx="4338674" cy="3354060"/>
          </a:xfrm>
        </p:spPr>
        <p:txBody>
          <a:bodyPr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FD0F41-64FC-41F3-B61A-6432F7EFBAD2}" type="datetimeFigureOut">
              <a:rPr lang="en-US" smtClean="0"/>
              <a:t>1/27/2017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2" name="Freeform 11"/>
          <p:cNvSpPr/>
          <p:nvPr/>
        </p:nvSpPr>
        <p:spPr bwMode="auto">
          <a:xfrm flipV="1">
            <a:off x="-4189" y="7143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13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31812" y="787782"/>
            <a:ext cx="779767" cy="365125"/>
          </a:xfrm>
        </p:spPr>
        <p:txBody>
          <a:bodyPr/>
          <a:lstStyle/>
          <a:p>
            <a:fld id="{EAFAFA4D-4A2E-49A1-AAE8-4580FC5F6F6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0297562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FD0F41-64FC-41F3-B61A-6432F7EFBAD2}" type="datetimeFigureOut">
              <a:rPr lang="en-US" smtClean="0"/>
              <a:t>1/27/2017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Freeform 11"/>
          <p:cNvSpPr/>
          <p:nvPr/>
        </p:nvSpPr>
        <p:spPr bwMode="auto">
          <a:xfrm flipV="1">
            <a:off x="-4189" y="7143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FAFA4D-4A2E-49A1-AAE8-4580FC5F6F6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7683385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FD0F41-64FC-41F3-B61A-6432F7EFBAD2}" type="datetimeFigureOut">
              <a:rPr lang="en-US" smtClean="0"/>
              <a:t>1/27/2017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reeform 11"/>
          <p:cNvSpPr/>
          <p:nvPr/>
        </p:nvSpPr>
        <p:spPr bwMode="auto">
          <a:xfrm flipV="1">
            <a:off x="-4189" y="7143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FAFA4D-4A2E-49A1-AAE8-4580FC5F6F6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0785089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89212" y="446088"/>
            <a:ext cx="3505199" cy="976312"/>
          </a:xfrm>
        </p:spPr>
        <p:txBody>
          <a:bodyPr anchor="b"/>
          <a:lstStyle>
            <a:lvl1pPr algn="l">
              <a:defRPr sz="20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323012" y="446088"/>
            <a:ext cx="5181600" cy="5414963"/>
          </a:xfrm>
        </p:spPr>
        <p:txBody>
          <a:bodyPr anchor="ctr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589212" y="1598613"/>
            <a:ext cx="3505199" cy="4262436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FD0F41-64FC-41F3-B61A-6432F7EFBAD2}" type="datetimeFigureOut">
              <a:rPr lang="en-US" smtClean="0"/>
              <a:t>1/27/2017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Freeform 11"/>
          <p:cNvSpPr/>
          <p:nvPr/>
        </p:nvSpPr>
        <p:spPr bwMode="auto">
          <a:xfrm flipV="1">
            <a:off x="-4189" y="7143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FAFA4D-4A2E-49A1-AAE8-4580FC5F6F6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4086282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89213" y="4800600"/>
            <a:ext cx="8915400" cy="566738"/>
          </a:xfrm>
        </p:spPr>
        <p:txBody>
          <a:bodyPr anchor="b">
            <a:normAutofit/>
          </a:bodyPr>
          <a:lstStyle>
            <a:lvl1pPr algn="l">
              <a:defRPr sz="24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2589212" y="634965"/>
            <a:ext cx="8915400" cy="3854970"/>
          </a:xfrm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589213" y="5367338"/>
            <a:ext cx="8915400" cy="493712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FD0F41-64FC-41F3-B61A-6432F7EFBAD2}" type="datetimeFigureOut">
              <a:rPr lang="en-US" smtClean="0"/>
              <a:t>1/27/2017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Freeform 11"/>
          <p:cNvSpPr/>
          <p:nvPr/>
        </p:nvSpPr>
        <p:spPr bwMode="auto">
          <a:xfrm flipV="1">
            <a:off x="-4189" y="491172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531812" y="4983087"/>
            <a:ext cx="779767" cy="365125"/>
          </a:xfrm>
        </p:spPr>
        <p:txBody>
          <a:bodyPr/>
          <a:lstStyle/>
          <a:p>
            <a:fld id="{EAFAFA4D-4A2E-49A1-AAE8-4580FC5F6F6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253773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" name="Group 22"/>
          <p:cNvGrpSpPr/>
          <p:nvPr/>
        </p:nvGrpSpPr>
        <p:grpSpPr>
          <a:xfrm>
            <a:off x="1" y="228600"/>
            <a:ext cx="2851516" cy="6638628"/>
            <a:chOff x="2487613" y="285750"/>
            <a:chExt cx="2428875" cy="5654676"/>
          </a:xfrm>
        </p:grpSpPr>
        <p:sp>
          <p:nvSpPr>
            <p:cNvPr id="24" name="Freeform 11"/>
            <p:cNvSpPr/>
            <p:nvPr/>
          </p:nvSpPr>
          <p:spPr bwMode="auto">
            <a:xfrm>
              <a:off x="2487613" y="2284413"/>
              <a:ext cx="85725" cy="533400"/>
            </a:xfrm>
            <a:custGeom>
              <a:avLst/>
              <a:gdLst/>
              <a:ahLst/>
              <a:cxnLst/>
              <a:rect l="0" t="0" r="r" b="b"/>
              <a:pathLst>
                <a:path w="22" h="136">
                  <a:moveTo>
                    <a:pt x="22" y="136"/>
                  </a:moveTo>
                  <a:cubicBezTo>
                    <a:pt x="20" y="117"/>
                    <a:pt x="19" y="99"/>
                    <a:pt x="17" y="80"/>
                  </a:cubicBezTo>
                  <a:cubicBezTo>
                    <a:pt x="11" y="54"/>
                    <a:pt x="6" y="27"/>
                    <a:pt x="0" y="0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6" y="64"/>
                    <a:pt x="13" y="94"/>
                    <a:pt x="20" y="124"/>
                  </a:cubicBezTo>
                  <a:cubicBezTo>
                    <a:pt x="20" y="128"/>
                    <a:pt x="21" y="132"/>
                    <a:pt x="22" y="136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25" name="Freeform 12"/>
            <p:cNvSpPr/>
            <p:nvPr/>
          </p:nvSpPr>
          <p:spPr bwMode="auto">
            <a:xfrm>
              <a:off x="2597151" y="2779713"/>
              <a:ext cx="550863" cy="1978025"/>
            </a:xfrm>
            <a:custGeom>
              <a:avLst/>
              <a:gdLst/>
              <a:ahLst/>
              <a:cxnLst/>
              <a:rect l="0" t="0" r="r" b="b"/>
              <a:pathLst>
                <a:path w="140" h="504">
                  <a:moveTo>
                    <a:pt x="86" y="350"/>
                  </a:moveTo>
                  <a:cubicBezTo>
                    <a:pt x="103" y="402"/>
                    <a:pt x="120" y="453"/>
                    <a:pt x="139" y="504"/>
                  </a:cubicBezTo>
                  <a:cubicBezTo>
                    <a:pt x="139" y="495"/>
                    <a:pt x="139" y="487"/>
                    <a:pt x="140" y="478"/>
                  </a:cubicBezTo>
                  <a:cubicBezTo>
                    <a:pt x="124" y="435"/>
                    <a:pt x="109" y="391"/>
                    <a:pt x="95" y="347"/>
                  </a:cubicBezTo>
                  <a:cubicBezTo>
                    <a:pt x="58" y="233"/>
                    <a:pt x="27" y="117"/>
                    <a:pt x="0" y="0"/>
                  </a:cubicBezTo>
                  <a:cubicBezTo>
                    <a:pt x="2" y="20"/>
                    <a:pt x="4" y="41"/>
                    <a:pt x="6" y="61"/>
                  </a:cubicBezTo>
                  <a:cubicBezTo>
                    <a:pt x="30" y="158"/>
                    <a:pt x="56" y="255"/>
                    <a:pt x="86" y="35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26" name="Freeform 13"/>
            <p:cNvSpPr/>
            <p:nvPr/>
          </p:nvSpPr>
          <p:spPr bwMode="auto">
            <a:xfrm>
              <a:off x="3175001" y="4730750"/>
              <a:ext cx="519113" cy="1209675"/>
            </a:xfrm>
            <a:custGeom>
              <a:avLst/>
              <a:gdLst/>
              <a:ahLst/>
              <a:cxnLst/>
              <a:rect l="0" t="0" r="r" b="b"/>
              <a:pathLst>
                <a:path w="132" h="308">
                  <a:moveTo>
                    <a:pt x="8" y="22"/>
                  </a:moveTo>
                  <a:cubicBezTo>
                    <a:pt x="5" y="15"/>
                    <a:pt x="2" y="8"/>
                    <a:pt x="0" y="0"/>
                  </a:cubicBezTo>
                  <a:cubicBezTo>
                    <a:pt x="0" y="10"/>
                    <a:pt x="0" y="19"/>
                    <a:pt x="0" y="29"/>
                  </a:cubicBezTo>
                  <a:cubicBezTo>
                    <a:pt x="21" y="85"/>
                    <a:pt x="44" y="140"/>
                    <a:pt x="68" y="194"/>
                  </a:cubicBezTo>
                  <a:cubicBezTo>
                    <a:pt x="85" y="232"/>
                    <a:pt x="104" y="270"/>
                    <a:pt x="123" y="308"/>
                  </a:cubicBezTo>
                  <a:cubicBezTo>
                    <a:pt x="132" y="308"/>
                    <a:pt x="132" y="308"/>
                    <a:pt x="132" y="308"/>
                  </a:cubicBezTo>
                  <a:cubicBezTo>
                    <a:pt x="113" y="269"/>
                    <a:pt x="94" y="230"/>
                    <a:pt x="77" y="190"/>
                  </a:cubicBezTo>
                  <a:cubicBezTo>
                    <a:pt x="52" y="135"/>
                    <a:pt x="29" y="79"/>
                    <a:pt x="8" y="22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27" name="Freeform 14"/>
            <p:cNvSpPr/>
            <p:nvPr/>
          </p:nvSpPr>
          <p:spPr bwMode="auto">
            <a:xfrm>
              <a:off x="3305176" y="5630863"/>
              <a:ext cx="146050" cy="309563"/>
            </a:xfrm>
            <a:custGeom>
              <a:avLst/>
              <a:gdLst/>
              <a:ahLst/>
              <a:cxnLst/>
              <a:rect l="0" t="0" r="r" b="b"/>
              <a:pathLst>
                <a:path w="37" h="79">
                  <a:moveTo>
                    <a:pt x="28" y="79"/>
                  </a:moveTo>
                  <a:cubicBezTo>
                    <a:pt x="37" y="79"/>
                    <a:pt x="37" y="79"/>
                    <a:pt x="37" y="79"/>
                  </a:cubicBezTo>
                  <a:cubicBezTo>
                    <a:pt x="24" y="53"/>
                    <a:pt x="12" y="27"/>
                    <a:pt x="0" y="0"/>
                  </a:cubicBezTo>
                  <a:cubicBezTo>
                    <a:pt x="8" y="27"/>
                    <a:pt x="17" y="53"/>
                    <a:pt x="28" y="79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28" name="Freeform 15"/>
            <p:cNvSpPr/>
            <p:nvPr/>
          </p:nvSpPr>
          <p:spPr bwMode="auto">
            <a:xfrm>
              <a:off x="2573338" y="2817813"/>
              <a:ext cx="700088" cy="2835275"/>
            </a:xfrm>
            <a:custGeom>
              <a:avLst/>
              <a:gdLst/>
              <a:ahLst/>
              <a:cxnLst/>
              <a:rect l="0" t="0" r="r" b="b"/>
              <a:pathLst>
                <a:path w="178" h="722">
                  <a:moveTo>
                    <a:pt x="162" y="660"/>
                  </a:moveTo>
                  <a:cubicBezTo>
                    <a:pt x="145" y="618"/>
                    <a:pt x="130" y="576"/>
                    <a:pt x="116" y="534"/>
                  </a:cubicBezTo>
                  <a:cubicBezTo>
                    <a:pt x="84" y="437"/>
                    <a:pt x="59" y="337"/>
                    <a:pt x="40" y="236"/>
                  </a:cubicBezTo>
                  <a:cubicBezTo>
                    <a:pt x="29" y="175"/>
                    <a:pt x="20" y="113"/>
                    <a:pt x="12" y="51"/>
                  </a:cubicBezTo>
                  <a:cubicBezTo>
                    <a:pt x="8" y="34"/>
                    <a:pt x="4" y="17"/>
                    <a:pt x="0" y="0"/>
                  </a:cubicBezTo>
                  <a:cubicBezTo>
                    <a:pt x="8" y="79"/>
                    <a:pt x="19" y="159"/>
                    <a:pt x="33" y="237"/>
                  </a:cubicBezTo>
                  <a:cubicBezTo>
                    <a:pt x="51" y="339"/>
                    <a:pt x="76" y="439"/>
                    <a:pt x="107" y="537"/>
                  </a:cubicBezTo>
                  <a:cubicBezTo>
                    <a:pt x="123" y="586"/>
                    <a:pt x="141" y="634"/>
                    <a:pt x="160" y="681"/>
                  </a:cubicBezTo>
                  <a:cubicBezTo>
                    <a:pt x="166" y="695"/>
                    <a:pt x="172" y="708"/>
                    <a:pt x="178" y="722"/>
                  </a:cubicBezTo>
                  <a:cubicBezTo>
                    <a:pt x="176" y="717"/>
                    <a:pt x="175" y="713"/>
                    <a:pt x="174" y="708"/>
                  </a:cubicBezTo>
                  <a:cubicBezTo>
                    <a:pt x="169" y="692"/>
                    <a:pt x="165" y="676"/>
                    <a:pt x="162" y="66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29" name="Freeform 16"/>
            <p:cNvSpPr/>
            <p:nvPr/>
          </p:nvSpPr>
          <p:spPr bwMode="auto">
            <a:xfrm>
              <a:off x="2506663" y="285750"/>
              <a:ext cx="90488" cy="2493963"/>
            </a:xfrm>
            <a:custGeom>
              <a:avLst/>
              <a:gdLst/>
              <a:ahLst/>
              <a:cxnLst/>
              <a:rect l="0" t="0" r="r" b="b"/>
              <a:pathLst>
                <a:path w="23" h="635">
                  <a:moveTo>
                    <a:pt x="11" y="577"/>
                  </a:moveTo>
                  <a:cubicBezTo>
                    <a:pt x="12" y="581"/>
                    <a:pt x="12" y="585"/>
                    <a:pt x="12" y="589"/>
                  </a:cubicBezTo>
                  <a:cubicBezTo>
                    <a:pt x="15" y="603"/>
                    <a:pt x="19" y="617"/>
                    <a:pt x="22" y="632"/>
                  </a:cubicBezTo>
                  <a:cubicBezTo>
                    <a:pt x="22" y="633"/>
                    <a:pt x="22" y="634"/>
                    <a:pt x="23" y="635"/>
                  </a:cubicBezTo>
                  <a:cubicBezTo>
                    <a:pt x="21" y="615"/>
                    <a:pt x="19" y="596"/>
                    <a:pt x="17" y="576"/>
                  </a:cubicBezTo>
                  <a:cubicBezTo>
                    <a:pt x="9" y="474"/>
                    <a:pt x="5" y="372"/>
                    <a:pt x="5" y="269"/>
                  </a:cubicBezTo>
                  <a:cubicBezTo>
                    <a:pt x="6" y="179"/>
                    <a:pt x="9" y="90"/>
                    <a:pt x="15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5" y="89"/>
                    <a:pt x="2" y="179"/>
                    <a:pt x="1" y="269"/>
                  </a:cubicBezTo>
                  <a:cubicBezTo>
                    <a:pt x="0" y="372"/>
                    <a:pt x="3" y="474"/>
                    <a:pt x="11" y="577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0" name="Freeform 17"/>
            <p:cNvSpPr/>
            <p:nvPr/>
          </p:nvSpPr>
          <p:spPr bwMode="auto">
            <a:xfrm>
              <a:off x="2554288" y="2598738"/>
              <a:ext cx="66675" cy="420688"/>
            </a:xfrm>
            <a:custGeom>
              <a:avLst/>
              <a:gdLst/>
              <a:ahLst/>
              <a:cxnLst/>
              <a:rect l="0" t="0" r="r" b="b"/>
              <a:pathLst>
                <a:path w="17" h="107">
                  <a:moveTo>
                    <a:pt x="0" y="0"/>
                  </a:moveTo>
                  <a:cubicBezTo>
                    <a:pt x="2" y="19"/>
                    <a:pt x="3" y="37"/>
                    <a:pt x="5" y="56"/>
                  </a:cubicBezTo>
                  <a:cubicBezTo>
                    <a:pt x="9" y="73"/>
                    <a:pt x="13" y="90"/>
                    <a:pt x="17" y="107"/>
                  </a:cubicBezTo>
                  <a:cubicBezTo>
                    <a:pt x="15" y="87"/>
                    <a:pt x="13" y="66"/>
                    <a:pt x="11" y="46"/>
                  </a:cubicBezTo>
                  <a:cubicBezTo>
                    <a:pt x="10" y="45"/>
                    <a:pt x="10" y="44"/>
                    <a:pt x="10" y="43"/>
                  </a:cubicBezTo>
                  <a:cubicBezTo>
                    <a:pt x="7" y="28"/>
                    <a:pt x="3" y="14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1" name="Freeform 18"/>
            <p:cNvSpPr/>
            <p:nvPr/>
          </p:nvSpPr>
          <p:spPr bwMode="auto">
            <a:xfrm>
              <a:off x="3143251" y="4757738"/>
              <a:ext cx="161925" cy="873125"/>
            </a:xfrm>
            <a:custGeom>
              <a:avLst/>
              <a:gdLst/>
              <a:ahLst/>
              <a:cxnLst/>
              <a:rect l="0" t="0" r="r" b="b"/>
              <a:pathLst>
                <a:path w="41" h="222">
                  <a:moveTo>
                    <a:pt x="0" y="0"/>
                  </a:moveTo>
                  <a:cubicBezTo>
                    <a:pt x="0" y="31"/>
                    <a:pt x="2" y="62"/>
                    <a:pt x="5" y="93"/>
                  </a:cubicBezTo>
                  <a:cubicBezTo>
                    <a:pt x="8" y="117"/>
                    <a:pt x="12" y="142"/>
                    <a:pt x="17" y="166"/>
                  </a:cubicBezTo>
                  <a:cubicBezTo>
                    <a:pt x="19" y="172"/>
                    <a:pt x="22" y="178"/>
                    <a:pt x="24" y="184"/>
                  </a:cubicBezTo>
                  <a:cubicBezTo>
                    <a:pt x="30" y="197"/>
                    <a:pt x="35" y="209"/>
                    <a:pt x="41" y="222"/>
                  </a:cubicBezTo>
                  <a:cubicBezTo>
                    <a:pt x="40" y="219"/>
                    <a:pt x="39" y="215"/>
                    <a:pt x="38" y="212"/>
                  </a:cubicBezTo>
                  <a:cubicBezTo>
                    <a:pt x="26" y="172"/>
                    <a:pt x="18" y="132"/>
                    <a:pt x="13" y="92"/>
                  </a:cubicBezTo>
                  <a:cubicBezTo>
                    <a:pt x="11" y="68"/>
                    <a:pt x="9" y="45"/>
                    <a:pt x="8" y="22"/>
                  </a:cubicBezTo>
                  <a:cubicBezTo>
                    <a:pt x="8" y="21"/>
                    <a:pt x="7" y="20"/>
                    <a:pt x="7" y="18"/>
                  </a:cubicBezTo>
                  <a:cubicBezTo>
                    <a:pt x="5" y="12"/>
                    <a:pt x="2" y="6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2" name="Freeform 19"/>
            <p:cNvSpPr/>
            <p:nvPr/>
          </p:nvSpPr>
          <p:spPr bwMode="auto">
            <a:xfrm>
              <a:off x="3148013" y="1282700"/>
              <a:ext cx="1768475" cy="3448050"/>
            </a:xfrm>
            <a:custGeom>
              <a:avLst/>
              <a:gdLst/>
              <a:ahLst/>
              <a:cxnLst/>
              <a:rect l="0" t="0" r="r" b="b"/>
              <a:pathLst>
                <a:path w="450" h="878">
                  <a:moveTo>
                    <a:pt x="7" y="854"/>
                  </a:moveTo>
                  <a:cubicBezTo>
                    <a:pt x="10" y="772"/>
                    <a:pt x="26" y="691"/>
                    <a:pt x="50" y="613"/>
                  </a:cubicBezTo>
                  <a:cubicBezTo>
                    <a:pt x="75" y="535"/>
                    <a:pt x="109" y="460"/>
                    <a:pt x="149" y="388"/>
                  </a:cubicBezTo>
                  <a:cubicBezTo>
                    <a:pt x="189" y="316"/>
                    <a:pt x="235" y="248"/>
                    <a:pt x="285" y="183"/>
                  </a:cubicBezTo>
                  <a:cubicBezTo>
                    <a:pt x="310" y="151"/>
                    <a:pt x="337" y="119"/>
                    <a:pt x="364" y="89"/>
                  </a:cubicBezTo>
                  <a:cubicBezTo>
                    <a:pt x="378" y="74"/>
                    <a:pt x="392" y="58"/>
                    <a:pt x="406" y="44"/>
                  </a:cubicBezTo>
                  <a:cubicBezTo>
                    <a:pt x="421" y="29"/>
                    <a:pt x="435" y="15"/>
                    <a:pt x="450" y="1"/>
                  </a:cubicBezTo>
                  <a:cubicBezTo>
                    <a:pt x="450" y="0"/>
                    <a:pt x="450" y="0"/>
                    <a:pt x="450" y="0"/>
                  </a:cubicBezTo>
                  <a:cubicBezTo>
                    <a:pt x="434" y="14"/>
                    <a:pt x="420" y="28"/>
                    <a:pt x="405" y="43"/>
                  </a:cubicBezTo>
                  <a:cubicBezTo>
                    <a:pt x="391" y="57"/>
                    <a:pt x="377" y="72"/>
                    <a:pt x="363" y="88"/>
                  </a:cubicBezTo>
                  <a:cubicBezTo>
                    <a:pt x="335" y="118"/>
                    <a:pt x="308" y="149"/>
                    <a:pt x="283" y="181"/>
                  </a:cubicBezTo>
                  <a:cubicBezTo>
                    <a:pt x="232" y="246"/>
                    <a:pt x="185" y="314"/>
                    <a:pt x="145" y="386"/>
                  </a:cubicBezTo>
                  <a:cubicBezTo>
                    <a:pt x="104" y="457"/>
                    <a:pt x="70" y="533"/>
                    <a:pt x="45" y="611"/>
                  </a:cubicBezTo>
                  <a:cubicBezTo>
                    <a:pt x="19" y="690"/>
                    <a:pt x="3" y="771"/>
                    <a:pt x="0" y="854"/>
                  </a:cubicBezTo>
                  <a:cubicBezTo>
                    <a:pt x="0" y="856"/>
                    <a:pt x="0" y="857"/>
                    <a:pt x="0" y="859"/>
                  </a:cubicBezTo>
                  <a:cubicBezTo>
                    <a:pt x="2" y="865"/>
                    <a:pt x="4" y="872"/>
                    <a:pt x="7" y="878"/>
                  </a:cubicBezTo>
                  <a:cubicBezTo>
                    <a:pt x="7" y="870"/>
                    <a:pt x="7" y="862"/>
                    <a:pt x="7" y="854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3" name="Freeform 20"/>
            <p:cNvSpPr/>
            <p:nvPr/>
          </p:nvSpPr>
          <p:spPr bwMode="auto">
            <a:xfrm>
              <a:off x="3273426" y="5653088"/>
              <a:ext cx="138113" cy="287338"/>
            </a:xfrm>
            <a:custGeom>
              <a:avLst/>
              <a:gdLst/>
              <a:ahLst/>
              <a:cxnLst/>
              <a:rect l="0" t="0" r="r" b="b"/>
              <a:pathLst>
                <a:path w="35" h="73">
                  <a:moveTo>
                    <a:pt x="0" y="0"/>
                  </a:moveTo>
                  <a:cubicBezTo>
                    <a:pt x="7" y="24"/>
                    <a:pt x="16" y="49"/>
                    <a:pt x="26" y="73"/>
                  </a:cubicBezTo>
                  <a:cubicBezTo>
                    <a:pt x="35" y="73"/>
                    <a:pt x="35" y="73"/>
                    <a:pt x="35" y="73"/>
                  </a:cubicBezTo>
                  <a:cubicBezTo>
                    <a:pt x="23" y="49"/>
                    <a:pt x="11" y="24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4" name="Freeform 21"/>
            <p:cNvSpPr/>
            <p:nvPr/>
          </p:nvSpPr>
          <p:spPr bwMode="auto">
            <a:xfrm>
              <a:off x="3143251" y="4656138"/>
              <a:ext cx="31750" cy="188913"/>
            </a:xfrm>
            <a:custGeom>
              <a:avLst/>
              <a:gdLst/>
              <a:ahLst/>
              <a:cxnLst/>
              <a:rect l="0" t="0" r="r" b="b"/>
              <a:pathLst>
                <a:path w="8" h="48">
                  <a:moveTo>
                    <a:pt x="7" y="44"/>
                  </a:moveTo>
                  <a:cubicBezTo>
                    <a:pt x="7" y="46"/>
                    <a:pt x="8" y="47"/>
                    <a:pt x="8" y="48"/>
                  </a:cubicBezTo>
                  <a:cubicBezTo>
                    <a:pt x="8" y="38"/>
                    <a:pt x="8" y="29"/>
                    <a:pt x="8" y="19"/>
                  </a:cubicBezTo>
                  <a:cubicBezTo>
                    <a:pt x="5" y="13"/>
                    <a:pt x="3" y="6"/>
                    <a:pt x="1" y="0"/>
                  </a:cubicBezTo>
                  <a:cubicBezTo>
                    <a:pt x="0" y="9"/>
                    <a:pt x="0" y="17"/>
                    <a:pt x="0" y="26"/>
                  </a:cubicBezTo>
                  <a:cubicBezTo>
                    <a:pt x="2" y="32"/>
                    <a:pt x="5" y="38"/>
                    <a:pt x="7" y="44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5" name="Freeform 22"/>
            <p:cNvSpPr/>
            <p:nvPr/>
          </p:nvSpPr>
          <p:spPr bwMode="auto">
            <a:xfrm>
              <a:off x="3211513" y="5410200"/>
              <a:ext cx="203200" cy="530225"/>
            </a:xfrm>
            <a:custGeom>
              <a:avLst/>
              <a:gdLst/>
              <a:ahLst/>
              <a:cxnLst/>
              <a:rect l="0" t="0" r="r" b="b"/>
              <a:pathLst>
                <a:path w="52" h="135">
                  <a:moveTo>
                    <a:pt x="7" y="18"/>
                  </a:moveTo>
                  <a:cubicBezTo>
                    <a:pt x="5" y="12"/>
                    <a:pt x="2" y="6"/>
                    <a:pt x="0" y="0"/>
                  </a:cubicBezTo>
                  <a:cubicBezTo>
                    <a:pt x="3" y="16"/>
                    <a:pt x="7" y="32"/>
                    <a:pt x="12" y="48"/>
                  </a:cubicBezTo>
                  <a:cubicBezTo>
                    <a:pt x="13" y="53"/>
                    <a:pt x="14" y="57"/>
                    <a:pt x="16" y="62"/>
                  </a:cubicBezTo>
                  <a:cubicBezTo>
                    <a:pt x="27" y="86"/>
                    <a:pt x="39" y="111"/>
                    <a:pt x="51" y="135"/>
                  </a:cubicBezTo>
                  <a:cubicBezTo>
                    <a:pt x="52" y="135"/>
                    <a:pt x="52" y="135"/>
                    <a:pt x="52" y="135"/>
                  </a:cubicBezTo>
                  <a:cubicBezTo>
                    <a:pt x="41" y="109"/>
                    <a:pt x="32" y="83"/>
                    <a:pt x="24" y="56"/>
                  </a:cubicBezTo>
                  <a:cubicBezTo>
                    <a:pt x="18" y="43"/>
                    <a:pt x="13" y="31"/>
                    <a:pt x="7" y="18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</p:grpSp>
      <p:grpSp>
        <p:nvGrpSpPr>
          <p:cNvPr id="10" name="Group 9"/>
          <p:cNvGrpSpPr/>
          <p:nvPr/>
        </p:nvGrpSpPr>
        <p:grpSpPr>
          <a:xfrm>
            <a:off x="27221" y="157"/>
            <a:ext cx="2356674" cy="6853096"/>
            <a:chOff x="6627813" y="195610"/>
            <a:chExt cx="1952625" cy="5678141"/>
          </a:xfrm>
        </p:grpSpPr>
        <p:sp>
          <p:nvSpPr>
            <p:cNvPr id="11" name="Freeform 27"/>
            <p:cNvSpPr/>
            <p:nvPr/>
          </p:nvSpPr>
          <p:spPr bwMode="auto">
            <a:xfrm>
              <a:off x="6627813" y="195610"/>
              <a:ext cx="409575" cy="3646488"/>
            </a:xfrm>
            <a:custGeom>
              <a:avLst/>
              <a:gdLst/>
              <a:ahLst/>
              <a:cxnLst/>
              <a:rect l="0" t="0" r="r" b="b"/>
              <a:pathLst>
                <a:path w="103" h="920">
                  <a:moveTo>
                    <a:pt x="7" y="210"/>
                  </a:moveTo>
                  <a:cubicBezTo>
                    <a:pt x="11" y="288"/>
                    <a:pt x="17" y="367"/>
                    <a:pt x="26" y="445"/>
                  </a:cubicBezTo>
                  <a:cubicBezTo>
                    <a:pt x="34" y="523"/>
                    <a:pt x="44" y="601"/>
                    <a:pt x="57" y="679"/>
                  </a:cubicBezTo>
                  <a:cubicBezTo>
                    <a:pt x="69" y="757"/>
                    <a:pt x="84" y="834"/>
                    <a:pt x="101" y="911"/>
                  </a:cubicBezTo>
                  <a:cubicBezTo>
                    <a:pt x="102" y="914"/>
                    <a:pt x="103" y="917"/>
                    <a:pt x="103" y="920"/>
                  </a:cubicBezTo>
                  <a:cubicBezTo>
                    <a:pt x="102" y="905"/>
                    <a:pt x="100" y="889"/>
                    <a:pt x="99" y="874"/>
                  </a:cubicBezTo>
                  <a:cubicBezTo>
                    <a:pt x="99" y="871"/>
                    <a:pt x="99" y="868"/>
                    <a:pt x="99" y="866"/>
                  </a:cubicBezTo>
                  <a:cubicBezTo>
                    <a:pt x="85" y="803"/>
                    <a:pt x="73" y="741"/>
                    <a:pt x="63" y="678"/>
                  </a:cubicBezTo>
                  <a:cubicBezTo>
                    <a:pt x="50" y="600"/>
                    <a:pt x="39" y="523"/>
                    <a:pt x="30" y="444"/>
                  </a:cubicBezTo>
                  <a:cubicBezTo>
                    <a:pt x="21" y="366"/>
                    <a:pt x="14" y="288"/>
                    <a:pt x="9" y="209"/>
                  </a:cubicBezTo>
                  <a:cubicBezTo>
                    <a:pt x="7" y="170"/>
                    <a:pt x="5" y="131"/>
                    <a:pt x="3" y="92"/>
                  </a:cubicBezTo>
                  <a:cubicBezTo>
                    <a:pt x="2" y="61"/>
                    <a:pt x="1" y="31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1"/>
                    <a:pt x="1" y="61"/>
                    <a:pt x="1" y="92"/>
                  </a:cubicBezTo>
                  <a:cubicBezTo>
                    <a:pt x="3" y="131"/>
                    <a:pt x="4" y="170"/>
                    <a:pt x="7" y="21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2" name="Freeform 28"/>
            <p:cNvSpPr/>
            <p:nvPr/>
          </p:nvSpPr>
          <p:spPr bwMode="auto">
            <a:xfrm>
              <a:off x="7061201" y="3771900"/>
              <a:ext cx="350838" cy="1309688"/>
            </a:xfrm>
            <a:custGeom>
              <a:avLst/>
              <a:gdLst/>
              <a:ahLst/>
              <a:cxnLst/>
              <a:rect l="0" t="0" r="r" b="b"/>
              <a:pathLst>
                <a:path w="88" h="330">
                  <a:moveTo>
                    <a:pt x="53" y="229"/>
                  </a:moveTo>
                  <a:cubicBezTo>
                    <a:pt x="64" y="263"/>
                    <a:pt x="75" y="297"/>
                    <a:pt x="88" y="330"/>
                  </a:cubicBezTo>
                  <a:cubicBezTo>
                    <a:pt x="88" y="323"/>
                    <a:pt x="88" y="315"/>
                    <a:pt x="88" y="308"/>
                  </a:cubicBezTo>
                  <a:cubicBezTo>
                    <a:pt x="88" y="307"/>
                    <a:pt x="88" y="305"/>
                    <a:pt x="88" y="304"/>
                  </a:cubicBezTo>
                  <a:cubicBezTo>
                    <a:pt x="79" y="278"/>
                    <a:pt x="70" y="252"/>
                    <a:pt x="62" y="226"/>
                  </a:cubicBezTo>
                  <a:cubicBezTo>
                    <a:pt x="38" y="152"/>
                    <a:pt x="17" y="76"/>
                    <a:pt x="0" y="0"/>
                  </a:cubicBezTo>
                  <a:cubicBezTo>
                    <a:pt x="2" y="21"/>
                    <a:pt x="4" y="42"/>
                    <a:pt x="7" y="63"/>
                  </a:cubicBezTo>
                  <a:cubicBezTo>
                    <a:pt x="21" y="119"/>
                    <a:pt x="36" y="174"/>
                    <a:pt x="53" y="22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3" name="Freeform 29"/>
            <p:cNvSpPr/>
            <p:nvPr/>
          </p:nvSpPr>
          <p:spPr bwMode="auto">
            <a:xfrm>
              <a:off x="7439026" y="5053013"/>
              <a:ext cx="357188" cy="820738"/>
            </a:xfrm>
            <a:custGeom>
              <a:avLst/>
              <a:gdLst/>
              <a:ahLst/>
              <a:cxnLst/>
              <a:rect l="0" t="0" r="r" b="b"/>
              <a:pathLst>
                <a:path w="90" h="207">
                  <a:moveTo>
                    <a:pt x="6" y="15"/>
                  </a:moveTo>
                  <a:cubicBezTo>
                    <a:pt x="4" y="10"/>
                    <a:pt x="2" y="5"/>
                    <a:pt x="0" y="0"/>
                  </a:cubicBezTo>
                  <a:cubicBezTo>
                    <a:pt x="0" y="9"/>
                    <a:pt x="0" y="19"/>
                    <a:pt x="1" y="29"/>
                  </a:cubicBezTo>
                  <a:cubicBezTo>
                    <a:pt x="14" y="62"/>
                    <a:pt x="27" y="95"/>
                    <a:pt x="42" y="127"/>
                  </a:cubicBezTo>
                  <a:cubicBezTo>
                    <a:pt x="54" y="154"/>
                    <a:pt x="67" y="181"/>
                    <a:pt x="80" y="207"/>
                  </a:cubicBezTo>
                  <a:cubicBezTo>
                    <a:pt x="90" y="207"/>
                    <a:pt x="90" y="207"/>
                    <a:pt x="90" y="207"/>
                  </a:cubicBezTo>
                  <a:cubicBezTo>
                    <a:pt x="76" y="180"/>
                    <a:pt x="63" y="152"/>
                    <a:pt x="50" y="123"/>
                  </a:cubicBezTo>
                  <a:cubicBezTo>
                    <a:pt x="34" y="88"/>
                    <a:pt x="20" y="51"/>
                    <a:pt x="6" y="15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4" name="Freeform 30"/>
            <p:cNvSpPr/>
            <p:nvPr/>
          </p:nvSpPr>
          <p:spPr bwMode="auto">
            <a:xfrm>
              <a:off x="7037388" y="3811588"/>
              <a:ext cx="457200" cy="1852613"/>
            </a:xfrm>
            <a:custGeom>
              <a:avLst/>
              <a:gdLst/>
              <a:ahLst/>
              <a:cxnLst/>
              <a:rect l="0" t="0" r="r" b="b"/>
              <a:pathLst>
                <a:path w="115" h="467">
                  <a:moveTo>
                    <a:pt x="101" y="409"/>
                  </a:moveTo>
                  <a:cubicBezTo>
                    <a:pt x="93" y="388"/>
                    <a:pt x="85" y="366"/>
                    <a:pt x="78" y="344"/>
                  </a:cubicBezTo>
                  <a:cubicBezTo>
                    <a:pt x="57" y="281"/>
                    <a:pt x="41" y="216"/>
                    <a:pt x="29" y="151"/>
                  </a:cubicBezTo>
                  <a:cubicBezTo>
                    <a:pt x="22" y="119"/>
                    <a:pt x="17" y="86"/>
                    <a:pt x="13" y="53"/>
                  </a:cubicBezTo>
                  <a:cubicBezTo>
                    <a:pt x="9" y="35"/>
                    <a:pt x="4" y="18"/>
                    <a:pt x="0" y="0"/>
                  </a:cubicBezTo>
                  <a:cubicBezTo>
                    <a:pt x="5" y="51"/>
                    <a:pt x="12" y="102"/>
                    <a:pt x="21" y="152"/>
                  </a:cubicBezTo>
                  <a:cubicBezTo>
                    <a:pt x="33" y="218"/>
                    <a:pt x="49" y="283"/>
                    <a:pt x="69" y="347"/>
                  </a:cubicBezTo>
                  <a:cubicBezTo>
                    <a:pt x="79" y="378"/>
                    <a:pt x="90" y="410"/>
                    <a:pt x="103" y="441"/>
                  </a:cubicBezTo>
                  <a:cubicBezTo>
                    <a:pt x="107" y="449"/>
                    <a:pt x="111" y="458"/>
                    <a:pt x="115" y="467"/>
                  </a:cubicBezTo>
                  <a:cubicBezTo>
                    <a:pt x="114" y="464"/>
                    <a:pt x="113" y="461"/>
                    <a:pt x="112" y="458"/>
                  </a:cubicBezTo>
                  <a:cubicBezTo>
                    <a:pt x="108" y="442"/>
                    <a:pt x="104" y="425"/>
                    <a:pt x="101" y="40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5" name="Freeform 31"/>
            <p:cNvSpPr/>
            <p:nvPr/>
          </p:nvSpPr>
          <p:spPr bwMode="auto">
            <a:xfrm>
              <a:off x="6992938" y="1263650"/>
              <a:ext cx="144463" cy="2508250"/>
            </a:xfrm>
            <a:custGeom>
              <a:avLst/>
              <a:gdLst/>
              <a:ahLst/>
              <a:cxnLst/>
              <a:rect l="0" t="0" r="r" b="b"/>
              <a:pathLst>
                <a:path w="36" h="633">
                  <a:moveTo>
                    <a:pt x="17" y="633"/>
                  </a:moveTo>
                  <a:cubicBezTo>
                    <a:pt x="15" y="621"/>
                    <a:pt x="14" y="609"/>
                    <a:pt x="13" y="597"/>
                  </a:cubicBezTo>
                  <a:cubicBezTo>
                    <a:pt x="8" y="530"/>
                    <a:pt x="5" y="464"/>
                    <a:pt x="5" y="398"/>
                  </a:cubicBezTo>
                  <a:cubicBezTo>
                    <a:pt x="5" y="331"/>
                    <a:pt x="8" y="265"/>
                    <a:pt x="13" y="198"/>
                  </a:cubicBezTo>
                  <a:cubicBezTo>
                    <a:pt x="15" y="165"/>
                    <a:pt x="18" y="132"/>
                    <a:pt x="22" y="99"/>
                  </a:cubicBezTo>
                  <a:cubicBezTo>
                    <a:pt x="26" y="66"/>
                    <a:pt x="30" y="33"/>
                    <a:pt x="36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29" y="33"/>
                    <a:pt x="24" y="66"/>
                    <a:pt x="20" y="99"/>
                  </a:cubicBezTo>
                  <a:cubicBezTo>
                    <a:pt x="16" y="132"/>
                    <a:pt x="13" y="165"/>
                    <a:pt x="10" y="198"/>
                  </a:cubicBezTo>
                  <a:cubicBezTo>
                    <a:pt x="4" y="264"/>
                    <a:pt x="1" y="331"/>
                    <a:pt x="1" y="398"/>
                  </a:cubicBezTo>
                  <a:cubicBezTo>
                    <a:pt x="0" y="461"/>
                    <a:pt x="2" y="525"/>
                    <a:pt x="7" y="589"/>
                  </a:cubicBezTo>
                  <a:cubicBezTo>
                    <a:pt x="10" y="603"/>
                    <a:pt x="13" y="618"/>
                    <a:pt x="16" y="632"/>
                  </a:cubicBezTo>
                  <a:cubicBezTo>
                    <a:pt x="16" y="632"/>
                    <a:pt x="17" y="633"/>
                    <a:pt x="17" y="633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6" name="Freeform 32"/>
            <p:cNvSpPr/>
            <p:nvPr/>
          </p:nvSpPr>
          <p:spPr bwMode="auto">
            <a:xfrm>
              <a:off x="7526338" y="5640388"/>
              <a:ext cx="111125" cy="233363"/>
            </a:xfrm>
            <a:custGeom>
              <a:avLst/>
              <a:gdLst/>
              <a:ahLst/>
              <a:cxnLst/>
              <a:rect l="0" t="0" r="r" b="b"/>
              <a:pathLst>
                <a:path w="28" h="59">
                  <a:moveTo>
                    <a:pt x="22" y="59"/>
                  </a:moveTo>
                  <a:cubicBezTo>
                    <a:pt x="28" y="59"/>
                    <a:pt x="28" y="59"/>
                    <a:pt x="28" y="59"/>
                  </a:cubicBezTo>
                  <a:cubicBezTo>
                    <a:pt x="18" y="40"/>
                    <a:pt x="9" y="20"/>
                    <a:pt x="0" y="0"/>
                  </a:cubicBezTo>
                  <a:cubicBezTo>
                    <a:pt x="6" y="20"/>
                    <a:pt x="13" y="40"/>
                    <a:pt x="22" y="5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7" name="Freeform 33"/>
            <p:cNvSpPr/>
            <p:nvPr/>
          </p:nvSpPr>
          <p:spPr bwMode="auto">
            <a:xfrm>
              <a:off x="7021513" y="3598863"/>
              <a:ext cx="68263" cy="423863"/>
            </a:xfrm>
            <a:custGeom>
              <a:avLst/>
              <a:gdLst/>
              <a:ahLst/>
              <a:cxnLst/>
              <a:rect l="0" t="0" r="r" b="b"/>
              <a:pathLst>
                <a:path w="17" h="107">
                  <a:moveTo>
                    <a:pt x="4" y="54"/>
                  </a:moveTo>
                  <a:cubicBezTo>
                    <a:pt x="8" y="72"/>
                    <a:pt x="13" y="89"/>
                    <a:pt x="17" y="107"/>
                  </a:cubicBezTo>
                  <a:cubicBezTo>
                    <a:pt x="14" y="86"/>
                    <a:pt x="12" y="65"/>
                    <a:pt x="10" y="44"/>
                  </a:cubicBezTo>
                  <a:cubicBezTo>
                    <a:pt x="10" y="44"/>
                    <a:pt x="9" y="43"/>
                    <a:pt x="9" y="43"/>
                  </a:cubicBezTo>
                  <a:cubicBezTo>
                    <a:pt x="6" y="29"/>
                    <a:pt x="3" y="14"/>
                    <a:pt x="0" y="0"/>
                  </a:cubicBezTo>
                  <a:cubicBezTo>
                    <a:pt x="0" y="2"/>
                    <a:pt x="0" y="5"/>
                    <a:pt x="0" y="8"/>
                  </a:cubicBezTo>
                  <a:cubicBezTo>
                    <a:pt x="1" y="23"/>
                    <a:pt x="3" y="39"/>
                    <a:pt x="4" y="54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8" name="Freeform 34"/>
            <p:cNvSpPr/>
            <p:nvPr/>
          </p:nvSpPr>
          <p:spPr bwMode="auto">
            <a:xfrm>
              <a:off x="7412038" y="2801938"/>
              <a:ext cx="1168400" cy="2251075"/>
            </a:xfrm>
            <a:custGeom>
              <a:avLst/>
              <a:gdLst/>
              <a:ahLst/>
              <a:cxnLst/>
              <a:rect l="0" t="0" r="r" b="b"/>
              <a:pathLst>
                <a:path w="294" h="568">
                  <a:moveTo>
                    <a:pt x="8" y="553"/>
                  </a:moveTo>
                  <a:cubicBezTo>
                    <a:pt x="9" y="501"/>
                    <a:pt x="19" y="448"/>
                    <a:pt x="35" y="397"/>
                  </a:cubicBezTo>
                  <a:cubicBezTo>
                    <a:pt x="51" y="347"/>
                    <a:pt x="73" y="298"/>
                    <a:pt x="99" y="252"/>
                  </a:cubicBezTo>
                  <a:cubicBezTo>
                    <a:pt x="124" y="205"/>
                    <a:pt x="154" y="161"/>
                    <a:pt x="187" y="119"/>
                  </a:cubicBezTo>
                  <a:cubicBezTo>
                    <a:pt x="203" y="98"/>
                    <a:pt x="220" y="77"/>
                    <a:pt x="238" y="58"/>
                  </a:cubicBezTo>
                  <a:cubicBezTo>
                    <a:pt x="247" y="48"/>
                    <a:pt x="256" y="38"/>
                    <a:pt x="265" y="28"/>
                  </a:cubicBezTo>
                  <a:cubicBezTo>
                    <a:pt x="274" y="19"/>
                    <a:pt x="284" y="9"/>
                    <a:pt x="294" y="0"/>
                  </a:cubicBezTo>
                  <a:cubicBezTo>
                    <a:pt x="293" y="0"/>
                    <a:pt x="293" y="0"/>
                    <a:pt x="293" y="0"/>
                  </a:cubicBezTo>
                  <a:cubicBezTo>
                    <a:pt x="283" y="9"/>
                    <a:pt x="273" y="18"/>
                    <a:pt x="264" y="27"/>
                  </a:cubicBezTo>
                  <a:cubicBezTo>
                    <a:pt x="255" y="37"/>
                    <a:pt x="246" y="47"/>
                    <a:pt x="237" y="56"/>
                  </a:cubicBezTo>
                  <a:cubicBezTo>
                    <a:pt x="218" y="76"/>
                    <a:pt x="201" y="96"/>
                    <a:pt x="185" y="117"/>
                  </a:cubicBezTo>
                  <a:cubicBezTo>
                    <a:pt x="151" y="159"/>
                    <a:pt x="121" y="203"/>
                    <a:pt x="95" y="249"/>
                  </a:cubicBezTo>
                  <a:cubicBezTo>
                    <a:pt x="68" y="296"/>
                    <a:pt x="46" y="345"/>
                    <a:pt x="30" y="396"/>
                  </a:cubicBezTo>
                  <a:cubicBezTo>
                    <a:pt x="13" y="445"/>
                    <a:pt x="3" y="497"/>
                    <a:pt x="0" y="549"/>
                  </a:cubicBezTo>
                  <a:cubicBezTo>
                    <a:pt x="3" y="555"/>
                    <a:pt x="5" y="561"/>
                    <a:pt x="7" y="568"/>
                  </a:cubicBezTo>
                  <a:cubicBezTo>
                    <a:pt x="7" y="563"/>
                    <a:pt x="7" y="558"/>
                    <a:pt x="8" y="553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9" name="Freeform 35"/>
            <p:cNvSpPr/>
            <p:nvPr/>
          </p:nvSpPr>
          <p:spPr bwMode="auto">
            <a:xfrm>
              <a:off x="7494588" y="5664200"/>
              <a:ext cx="100013" cy="209550"/>
            </a:xfrm>
            <a:custGeom>
              <a:avLst/>
              <a:gdLst/>
              <a:ahLst/>
              <a:cxnLst/>
              <a:rect l="0" t="0" r="r" b="b"/>
              <a:pathLst>
                <a:path w="25" h="53">
                  <a:moveTo>
                    <a:pt x="0" y="0"/>
                  </a:moveTo>
                  <a:cubicBezTo>
                    <a:pt x="5" y="18"/>
                    <a:pt x="12" y="36"/>
                    <a:pt x="19" y="53"/>
                  </a:cubicBezTo>
                  <a:cubicBezTo>
                    <a:pt x="25" y="53"/>
                    <a:pt x="25" y="53"/>
                    <a:pt x="25" y="53"/>
                  </a:cubicBezTo>
                  <a:cubicBezTo>
                    <a:pt x="16" y="36"/>
                    <a:pt x="8" y="18"/>
                    <a:pt x="0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20" name="Freeform 36"/>
            <p:cNvSpPr/>
            <p:nvPr/>
          </p:nvSpPr>
          <p:spPr bwMode="auto">
            <a:xfrm>
              <a:off x="7412038" y="5081588"/>
              <a:ext cx="114300" cy="558800"/>
            </a:xfrm>
            <a:custGeom>
              <a:avLst/>
              <a:gdLst/>
              <a:ahLst/>
              <a:cxnLst/>
              <a:rect l="0" t="0" r="r" b="b"/>
              <a:pathLst>
                <a:path w="29" h="141">
                  <a:moveTo>
                    <a:pt x="0" y="0"/>
                  </a:moveTo>
                  <a:cubicBezTo>
                    <a:pt x="0" y="30"/>
                    <a:pt x="2" y="60"/>
                    <a:pt x="7" y="89"/>
                  </a:cubicBezTo>
                  <a:cubicBezTo>
                    <a:pt x="11" y="98"/>
                    <a:pt x="14" y="108"/>
                    <a:pt x="18" y="117"/>
                  </a:cubicBezTo>
                  <a:cubicBezTo>
                    <a:pt x="22" y="125"/>
                    <a:pt x="25" y="133"/>
                    <a:pt x="29" y="141"/>
                  </a:cubicBezTo>
                  <a:cubicBezTo>
                    <a:pt x="28" y="139"/>
                    <a:pt x="28" y="137"/>
                    <a:pt x="27" y="135"/>
                  </a:cubicBezTo>
                  <a:cubicBezTo>
                    <a:pt x="16" y="98"/>
                    <a:pt x="10" y="60"/>
                    <a:pt x="8" y="22"/>
                  </a:cubicBezTo>
                  <a:cubicBezTo>
                    <a:pt x="7" y="18"/>
                    <a:pt x="5" y="15"/>
                    <a:pt x="4" y="11"/>
                  </a:cubicBezTo>
                  <a:cubicBezTo>
                    <a:pt x="2" y="7"/>
                    <a:pt x="1" y="3"/>
                    <a:pt x="0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21" name="Freeform 37"/>
            <p:cNvSpPr/>
            <p:nvPr/>
          </p:nvSpPr>
          <p:spPr bwMode="auto">
            <a:xfrm>
              <a:off x="7412038" y="4978400"/>
              <a:ext cx="31750" cy="188913"/>
            </a:xfrm>
            <a:custGeom>
              <a:avLst/>
              <a:gdLst/>
              <a:ahLst/>
              <a:cxnLst/>
              <a:rect l="0" t="0" r="r" b="b"/>
              <a:pathLst>
                <a:path w="8" h="48">
                  <a:moveTo>
                    <a:pt x="0" y="26"/>
                  </a:moveTo>
                  <a:cubicBezTo>
                    <a:pt x="1" y="29"/>
                    <a:pt x="2" y="33"/>
                    <a:pt x="4" y="37"/>
                  </a:cubicBezTo>
                  <a:cubicBezTo>
                    <a:pt x="5" y="41"/>
                    <a:pt x="7" y="44"/>
                    <a:pt x="8" y="48"/>
                  </a:cubicBezTo>
                  <a:cubicBezTo>
                    <a:pt x="7" y="38"/>
                    <a:pt x="7" y="28"/>
                    <a:pt x="7" y="19"/>
                  </a:cubicBezTo>
                  <a:cubicBezTo>
                    <a:pt x="5" y="12"/>
                    <a:pt x="3" y="6"/>
                    <a:pt x="0" y="0"/>
                  </a:cubicBezTo>
                  <a:cubicBezTo>
                    <a:pt x="0" y="1"/>
                    <a:pt x="0" y="3"/>
                    <a:pt x="0" y="4"/>
                  </a:cubicBezTo>
                  <a:cubicBezTo>
                    <a:pt x="0" y="11"/>
                    <a:pt x="0" y="19"/>
                    <a:pt x="0" y="26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22" name="Freeform 38"/>
            <p:cNvSpPr/>
            <p:nvPr/>
          </p:nvSpPr>
          <p:spPr bwMode="auto">
            <a:xfrm>
              <a:off x="7439026" y="5434013"/>
              <a:ext cx="174625" cy="439738"/>
            </a:xfrm>
            <a:custGeom>
              <a:avLst/>
              <a:gdLst/>
              <a:ahLst/>
              <a:cxnLst/>
              <a:rect l="0" t="0" r="r" b="b"/>
              <a:pathLst>
                <a:path w="44" h="111">
                  <a:moveTo>
                    <a:pt x="11" y="28"/>
                  </a:moveTo>
                  <a:cubicBezTo>
                    <a:pt x="7" y="19"/>
                    <a:pt x="4" y="9"/>
                    <a:pt x="0" y="0"/>
                  </a:cubicBezTo>
                  <a:cubicBezTo>
                    <a:pt x="3" y="16"/>
                    <a:pt x="7" y="33"/>
                    <a:pt x="11" y="49"/>
                  </a:cubicBezTo>
                  <a:cubicBezTo>
                    <a:pt x="12" y="52"/>
                    <a:pt x="13" y="55"/>
                    <a:pt x="14" y="58"/>
                  </a:cubicBezTo>
                  <a:cubicBezTo>
                    <a:pt x="22" y="76"/>
                    <a:pt x="30" y="94"/>
                    <a:pt x="39" y="111"/>
                  </a:cubicBezTo>
                  <a:cubicBezTo>
                    <a:pt x="44" y="111"/>
                    <a:pt x="44" y="111"/>
                    <a:pt x="44" y="111"/>
                  </a:cubicBezTo>
                  <a:cubicBezTo>
                    <a:pt x="35" y="92"/>
                    <a:pt x="28" y="72"/>
                    <a:pt x="22" y="52"/>
                  </a:cubicBezTo>
                  <a:cubicBezTo>
                    <a:pt x="18" y="44"/>
                    <a:pt x="15" y="36"/>
                    <a:pt x="11" y="28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</p:grpSp>
      <p:sp>
        <p:nvSpPr>
          <p:cNvPr id="7" name="Rectangle 6"/>
          <p:cNvSpPr/>
          <p:nvPr/>
        </p:nvSpPr>
        <p:spPr>
          <a:xfrm>
            <a:off x="0" y="0"/>
            <a:ext cx="182880" cy="685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592924" y="624110"/>
            <a:ext cx="8911687" cy="128089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89212" y="2133600"/>
            <a:ext cx="8915400" cy="38862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0361612" y="6130437"/>
            <a:ext cx="1146283" cy="37039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FD0F41-64FC-41F3-B61A-6432F7EFBAD2}" type="datetimeFigureOut">
              <a:rPr lang="en-US" smtClean="0"/>
              <a:t>1/27/20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89212" y="6135808"/>
            <a:ext cx="76199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531812" y="787782"/>
            <a:ext cx="77976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rgbClr val="FEFFFF"/>
                </a:solidFill>
              </a:defRPr>
            </a:lvl1pPr>
          </a:lstStyle>
          <a:p>
            <a:fld id="{EAFAFA4D-4A2E-49A1-AAE8-4580FC5F6F6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409154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9" r:id="rId1"/>
    <p:sldLayoutId id="2147483770" r:id="rId2"/>
    <p:sldLayoutId id="2147483771" r:id="rId3"/>
    <p:sldLayoutId id="2147483772" r:id="rId4"/>
    <p:sldLayoutId id="2147483773" r:id="rId5"/>
    <p:sldLayoutId id="2147483774" r:id="rId6"/>
    <p:sldLayoutId id="2147483775" r:id="rId7"/>
    <p:sldLayoutId id="2147483776" r:id="rId8"/>
    <p:sldLayoutId id="2147483777" r:id="rId9"/>
    <p:sldLayoutId id="2147483778" r:id="rId10"/>
    <p:sldLayoutId id="2147483779" r:id="rId11"/>
    <p:sldLayoutId id="2147483780" r:id="rId12"/>
    <p:sldLayoutId id="2147483781" r:id="rId13"/>
    <p:sldLayoutId id="2147483782" r:id="rId14"/>
    <p:sldLayoutId id="2147483783" r:id="rId15"/>
    <p:sldLayoutId id="2147483784" r:id="rId16"/>
    <p:sldLayoutId id="2147483785" r:id="rId17"/>
  </p:sldLayoutIdLst>
  <p:txStyles>
    <p:titleStyle>
      <a:lvl1pPr algn="l" defTabSz="457200" rtl="0" eaLnBrk="1" latinLnBrk="0" hangingPunct="1">
        <a:spcBef>
          <a:spcPct val="0"/>
        </a:spcBef>
        <a:buNone/>
        <a:defRPr sz="3600" kern="1200">
          <a:solidFill>
            <a:schemeClr val="accent2">
              <a:lumMod val="75000"/>
            </a:schemeClr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342900" indent="-3429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control" Target="../activeX/activeX2.xml"/><Relationship Id="rId2" Type="http://schemas.openxmlformats.org/officeDocument/2006/relationships/control" Target="../activeX/activeX1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wmf"/><Relationship Id="rId5" Type="http://schemas.openxmlformats.org/officeDocument/2006/relationships/image" Target="../media/image2.wmf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file:///D:\cloud_devops_cloud_migration_requirements_template.docm" TargetMode="External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3.vml"/><Relationship Id="rId4" Type="http://schemas.openxmlformats.org/officeDocument/2006/relationships/image" Target="../media/image1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Cloud Org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By Russell Powers</a:t>
            </a:r>
          </a:p>
        </p:txBody>
      </p:sp>
    </p:spTree>
    <p:controls>
      <mc:AlternateContent xmlns:mc="http://schemas.openxmlformats.org/markup-compatibility/2006">
        <mc:Choice xmlns:v="urn:schemas-microsoft-com:vml" Requires="v">
          <p:control spid="6162" name="CommandButton1" r:id="rId2" imgW="2537640" imgH="784800"/>
        </mc:Choice>
        <mc:Fallback>
          <p:control name="CommandButton1" r:id="rId2" imgW="2537640" imgH="784800">
            <p:pic>
              <p:nvPicPr>
                <p:cNvPr id="4" name="CommandButton1"/>
                <p:cNvPicPr>
                  <a:picLocks/>
                </p:cNvPicPr>
                <p:nvPr/>
              </p:nvPicPr>
              <p:blipFill>
                <a:blip r:embed="rId5"/>
                <a:stretch>
                  <a:fillRect/>
                </a:stretch>
              </p:blipFill>
              <p:spPr>
                <a:xfrm>
                  <a:off x="8418513" y="1103313"/>
                  <a:ext cx="2533650" cy="785812"/>
                </a:xfrm>
                <a:prstGeom prst="rect">
                  <a:avLst/>
                </a:prstGeom>
              </p:spPr>
            </p:pic>
          </p:control>
        </mc:Fallback>
      </mc:AlternateContent>
      <mc:AlternateContent xmlns:mc="http://schemas.openxmlformats.org/markup-compatibility/2006">
        <mc:Choice xmlns:v="urn:schemas-microsoft-com:vml" Requires="v">
          <p:control spid="6163" name="CommandButton2" r:id="rId3" imgW="2804040" imgH="784800"/>
        </mc:Choice>
        <mc:Fallback>
          <p:control name="CommandButton2" r:id="rId3" imgW="2804040" imgH="784800">
            <p:pic>
              <p:nvPicPr>
                <p:cNvPr id="5" name="CommandButton2"/>
                <p:cNvPicPr>
                  <a:picLocks/>
                </p:cNvPicPr>
                <p:nvPr/>
              </p:nvPicPr>
              <p:blipFill>
                <a:blip r:embed="rId6"/>
                <a:stretch>
                  <a:fillRect/>
                </a:stretch>
              </p:blipFill>
              <p:spPr>
                <a:xfrm>
                  <a:off x="8150225" y="2127250"/>
                  <a:ext cx="2801938" cy="774700"/>
                </a:xfrm>
                <a:prstGeom prst="rect">
                  <a:avLst/>
                </a:prstGeom>
              </p:spPr>
            </p:pic>
          </p:control>
        </mc:Fallback>
      </mc:AlternateContent>
    </p:controls>
    <p:extLst>
      <p:ext uri="{BB962C8B-B14F-4D97-AF65-F5344CB8AC3E}">
        <p14:creationId xmlns:p14="http://schemas.microsoft.com/office/powerpoint/2010/main" val="257690533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yboard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252208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cision Diagram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7287730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3778453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14350" y="613430"/>
            <a:ext cx="8911687" cy="1280890"/>
          </a:xfrm>
        </p:spPr>
        <p:txBody>
          <a:bodyPr/>
          <a:lstStyle/>
          <a:p>
            <a:r>
              <a:rPr lang="en-US" dirty="0"/>
              <a:t>Purpos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640849"/>
          </a:xfrm>
        </p:spPr>
        <p:txBody>
          <a:bodyPr>
            <a:normAutofit fontScale="25000" lnSpcReduction="20000"/>
          </a:bodyPr>
          <a:lstStyle/>
          <a:p>
            <a:pPr marL="0" indent="0">
              <a:buNone/>
            </a:pPr>
            <a:r>
              <a:rPr lang="en-US"/>
              <a:t>To province structure to a growing worldwide corporate practice, CFS</a:t>
            </a:r>
          </a:p>
          <a:p>
            <a:pPr marL="0" indent="0">
              <a:buNone/>
            </a:pPr>
            <a:r>
              <a:rPr lang="en-US"/>
              <a:t> 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TextBox 3"/>
          <p:cNvSpPr txBox="1"/>
          <p:nvPr/>
        </p:nvSpPr>
        <p:spPr>
          <a:xfrm>
            <a:off x="912393" y="2175326"/>
            <a:ext cx="1051560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/>
              <a:t>To implement an Agile practice(called Cloud Champions) with specific goal of generating agile evangelist to incubate a partner ecosystem of cloud champions with lead the change of culture in are clients.</a:t>
            </a:r>
          </a:p>
          <a:p>
            <a:endParaRPr lang="en-US" dirty="0"/>
          </a:p>
        </p:txBody>
      </p:sp>
      <p:sp>
        <p:nvSpPr>
          <p:cNvPr id="5" name="TextBox 4"/>
          <p:cNvSpPr txBox="1"/>
          <p:nvPr/>
        </p:nvSpPr>
        <p:spPr>
          <a:xfrm>
            <a:off x="838200" y="2998021"/>
            <a:ext cx="943275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/>
              <a:t>Automate the CCA</a:t>
            </a:r>
          </a:p>
          <a:p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838200" y="3393250"/>
            <a:ext cx="956510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/>
              <a:t>Create Repository of Cloud solutions (Architecture Repository)</a:t>
            </a:r>
          </a:p>
          <a:p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838200" y="3943989"/>
            <a:ext cx="1013059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/>
              <a:t>Weekly Coaching Seasons</a:t>
            </a:r>
            <a:endParaRPr 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838200" y="4483838"/>
            <a:ext cx="1043338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/>
              <a:t>Update artefacts</a:t>
            </a:r>
            <a:endParaRPr lang="en-US" dirty="0"/>
          </a:p>
        </p:txBody>
      </p:sp>
      <p:sp>
        <p:nvSpPr>
          <p:cNvPr id="9" name="TextBox 8"/>
          <p:cNvSpPr txBox="1"/>
          <p:nvPr/>
        </p:nvSpPr>
        <p:spPr>
          <a:xfrm>
            <a:off x="838200" y="4989751"/>
            <a:ext cx="1066398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/>
              <a:t>Update Learning Platform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3392301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737629" y="248691"/>
            <a:ext cx="8911687" cy="1280890"/>
          </a:xfrm>
        </p:spPr>
        <p:txBody>
          <a:bodyPr>
            <a:normAutofit/>
          </a:bodyPr>
          <a:lstStyle/>
          <a:p>
            <a:r>
              <a:rPr lang="en-US" sz="240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Capgemini offers a structured, tailor-able approach to define the right cloud journey</a:t>
            </a:r>
          </a:p>
        </p:txBody>
      </p:sp>
      <p:sp>
        <p:nvSpPr>
          <p:cNvPr id="114" name="Rounded Rectangle 113"/>
          <p:cNvSpPr/>
          <p:nvPr/>
        </p:nvSpPr>
        <p:spPr>
          <a:xfrm>
            <a:off x="1911748" y="4035964"/>
            <a:ext cx="8289102" cy="1472125"/>
          </a:xfrm>
          <a:prstGeom prst="roundRect">
            <a:avLst>
              <a:gd name="adj" fmla="val 9765"/>
            </a:avLst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200" b="1">
                <a:solidFill>
                  <a:schemeClr val="bg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Cloud </a:t>
            </a:r>
          </a:p>
          <a:p>
            <a:r>
              <a:rPr lang="en-US" sz="1200" b="1">
                <a:solidFill>
                  <a:schemeClr val="bg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Patterns</a:t>
            </a:r>
            <a:endParaRPr lang="en-US" sz="1200" b="1" dirty="0">
              <a:solidFill>
                <a:schemeClr val="bg2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5" name="Rounded Rectangle 114"/>
          <p:cNvSpPr/>
          <p:nvPr/>
        </p:nvSpPr>
        <p:spPr>
          <a:xfrm>
            <a:off x="1911748" y="3226255"/>
            <a:ext cx="8289102" cy="418542"/>
          </a:xfrm>
          <a:prstGeom prst="round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200" b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echnical Feasibility</a:t>
            </a:r>
            <a:endParaRPr lang="en-US" sz="12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6" name="Rounded Rectangle 115"/>
          <p:cNvSpPr/>
          <p:nvPr/>
        </p:nvSpPr>
        <p:spPr>
          <a:xfrm>
            <a:off x="1911748" y="5582707"/>
            <a:ext cx="8289102" cy="376908"/>
          </a:xfrm>
          <a:prstGeom prst="round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200" b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Business Case, Roadmap &amp; POC Planning</a:t>
            </a:r>
            <a:endParaRPr lang="en-US" sz="12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7" name="Rounded Rectangle 116"/>
          <p:cNvSpPr/>
          <p:nvPr/>
        </p:nvSpPr>
        <p:spPr>
          <a:xfrm>
            <a:off x="4084522" y="4929396"/>
            <a:ext cx="822062" cy="284587"/>
          </a:xfrm>
          <a:prstGeom prst="roundRect">
            <a:avLst/>
          </a:prstGeom>
          <a:solidFill>
            <a:schemeClr val="bg1"/>
          </a:solidFill>
          <a:ln w="6350"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100" b="1">
                <a:solidFill>
                  <a:schemeClr val="accent5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Public</a:t>
            </a:r>
            <a:endParaRPr lang="en-US" sz="1100" b="1" dirty="0">
              <a:solidFill>
                <a:schemeClr val="accent5">
                  <a:lumMod val="7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8" name="Rounded Rectangle 117"/>
          <p:cNvSpPr/>
          <p:nvPr/>
        </p:nvSpPr>
        <p:spPr>
          <a:xfrm>
            <a:off x="5129379" y="4929396"/>
            <a:ext cx="822062" cy="284587"/>
          </a:xfrm>
          <a:prstGeom prst="roundRect">
            <a:avLst/>
          </a:prstGeom>
          <a:solidFill>
            <a:schemeClr val="bg1"/>
          </a:solidFill>
          <a:ln w="6350"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100" b="1">
                <a:solidFill>
                  <a:schemeClr val="accent5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Private</a:t>
            </a:r>
            <a:endParaRPr lang="en-US" sz="1100" b="1" dirty="0">
              <a:solidFill>
                <a:schemeClr val="accent5">
                  <a:lumMod val="7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9" name="Rounded Rectangle 118"/>
          <p:cNvSpPr/>
          <p:nvPr/>
        </p:nvSpPr>
        <p:spPr>
          <a:xfrm>
            <a:off x="6302746" y="4929396"/>
            <a:ext cx="822062" cy="284587"/>
          </a:xfrm>
          <a:prstGeom prst="roundRect">
            <a:avLst/>
          </a:prstGeom>
          <a:solidFill>
            <a:schemeClr val="bg1"/>
          </a:solidFill>
          <a:ln w="6350"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100" b="1">
                <a:solidFill>
                  <a:schemeClr val="accent5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IaaS</a:t>
            </a:r>
            <a:endParaRPr lang="en-US" sz="1100" b="1" dirty="0">
              <a:solidFill>
                <a:schemeClr val="accent5">
                  <a:lumMod val="7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20" name="Rounded Rectangle 119"/>
          <p:cNvSpPr/>
          <p:nvPr/>
        </p:nvSpPr>
        <p:spPr>
          <a:xfrm>
            <a:off x="7291404" y="4929396"/>
            <a:ext cx="822062" cy="284587"/>
          </a:xfrm>
          <a:prstGeom prst="roundRect">
            <a:avLst/>
          </a:prstGeom>
          <a:solidFill>
            <a:schemeClr val="bg1"/>
          </a:solidFill>
          <a:ln w="6350"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100" b="1">
                <a:solidFill>
                  <a:schemeClr val="accent5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PaaS</a:t>
            </a:r>
            <a:endParaRPr lang="en-US" sz="1100" b="1" dirty="0">
              <a:solidFill>
                <a:schemeClr val="accent5">
                  <a:lumMod val="7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21" name="Oval 120"/>
          <p:cNvSpPr/>
          <p:nvPr/>
        </p:nvSpPr>
        <p:spPr>
          <a:xfrm>
            <a:off x="1431926" y="1572504"/>
            <a:ext cx="318284" cy="294401"/>
          </a:xfrm>
          <a:prstGeom prst="ellipse">
            <a:avLst/>
          </a:prstGeom>
          <a:noFill/>
          <a:ln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/>
          <a:lstStyle/>
          <a:p>
            <a:pPr lvl="0" algn="ctr"/>
            <a:r>
              <a:rPr lang="en-US" sz="1100" b="1" dirty="0">
                <a:solidFill>
                  <a:schemeClr val="bg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0</a:t>
            </a:r>
          </a:p>
        </p:txBody>
      </p:sp>
      <p:sp>
        <p:nvSpPr>
          <p:cNvPr id="122" name="Content Placeholder 3"/>
          <p:cNvSpPr txBox="1">
            <a:spLocks/>
          </p:cNvSpPr>
          <p:nvPr/>
        </p:nvSpPr>
        <p:spPr>
          <a:xfrm>
            <a:off x="9130828" y="1770629"/>
            <a:ext cx="1072115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228600" indent="-228600" algn="l" defTabSz="914342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Font typeface="Wingdings" pitchFamily="2" charset="2"/>
              <a:buChar char="§"/>
              <a:defRPr sz="2000" b="0" kern="120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-223838" algn="l" defTabSz="914342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Font typeface="Arial" pitchFamily="34" charset="0"/>
              <a:buChar char="•"/>
              <a:defRPr sz="1800" b="0" kern="120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685800" indent="-228600" algn="l" defTabSz="914342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Font typeface="Arial" pitchFamily="34" charset="0"/>
              <a:buChar char="–"/>
              <a:defRPr sz="1600" kern="120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914400" marR="0" indent="-228600" algn="l" defTabSz="9143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Tx/>
              <a:buFont typeface="Courier New" pitchFamily="49" charset="0"/>
              <a:buChar char="o"/>
              <a:tabLst/>
              <a:defRPr sz="1400" kern="120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609624" indent="-193663" algn="l" defTabSz="914342" rtl="0" eaLnBrk="1" latinLnBrk="0" hangingPunct="1">
              <a:spcBef>
                <a:spcPts val="0"/>
              </a:spcBef>
              <a:buClr>
                <a:srgbClr val="B1B1B1"/>
              </a:buClr>
              <a:buFont typeface="Arial" pitchFamily="34" charset="0"/>
              <a:buChar char="–"/>
              <a:defRPr sz="1700" kern="1200">
                <a:solidFill>
                  <a:srgbClr val="494949"/>
                </a:solidFill>
                <a:latin typeface="+mn-lt"/>
                <a:ea typeface="+mn-ea"/>
                <a:cs typeface="+mn-cs"/>
              </a:defRPr>
            </a:lvl5pPr>
            <a:lvl6pPr marL="2514441" indent="-228586" algn="l" defTabSz="9143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12" indent="-228586" algn="l" defTabSz="9143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783" indent="-228586" algn="l" defTabSz="9143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954" indent="-228586" algn="l" defTabSz="9143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Aft>
                <a:spcPts val="0"/>
              </a:spcAft>
              <a:buNone/>
            </a:pPr>
            <a:r>
              <a:rPr lang="en-US" sz="1200" b="1" dirty="0">
                <a:latin typeface="Arial" pitchFamily="34" charset="0"/>
                <a:cs typeface="Arial" pitchFamily="34" charset="0"/>
              </a:rPr>
              <a:t>Applications</a:t>
            </a:r>
          </a:p>
        </p:txBody>
      </p:sp>
      <p:sp>
        <p:nvSpPr>
          <p:cNvPr id="123" name="Oval 122"/>
          <p:cNvSpPr/>
          <p:nvPr/>
        </p:nvSpPr>
        <p:spPr>
          <a:xfrm>
            <a:off x="1431926" y="2156528"/>
            <a:ext cx="318284" cy="294401"/>
          </a:xfrm>
          <a:prstGeom prst="ellipse">
            <a:avLst/>
          </a:prstGeom>
          <a:noFill/>
          <a:ln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/>
          <a:lstStyle/>
          <a:p>
            <a:pPr lvl="0" algn="ctr"/>
            <a:r>
              <a:rPr lang="en-US" sz="1100" b="1" dirty="0">
                <a:solidFill>
                  <a:schemeClr val="bg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1</a:t>
            </a:r>
          </a:p>
        </p:txBody>
      </p:sp>
      <p:sp>
        <p:nvSpPr>
          <p:cNvPr id="124" name="Rounded Rectangle 123"/>
          <p:cNvSpPr/>
          <p:nvPr/>
        </p:nvSpPr>
        <p:spPr>
          <a:xfrm>
            <a:off x="8215807" y="4929396"/>
            <a:ext cx="822062" cy="284587"/>
          </a:xfrm>
          <a:prstGeom prst="roundRect">
            <a:avLst/>
          </a:prstGeom>
          <a:solidFill>
            <a:schemeClr val="bg1"/>
          </a:solidFill>
          <a:ln w="6350"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100" b="1">
                <a:solidFill>
                  <a:schemeClr val="accent5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SaaS</a:t>
            </a:r>
            <a:endParaRPr lang="en-US" sz="1100" b="1" dirty="0">
              <a:solidFill>
                <a:schemeClr val="accent5">
                  <a:lumMod val="7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25" name="Oval 124"/>
          <p:cNvSpPr/>
          <p:nvPr/>
        </p:nvSpPr>
        <p:spPr>
          <a:xfrm>
            <a:off x="1431926" y="2975547"/>
            <a:ext cx="318284" cy="294401"/>
          </a:xfrm>
          <a:prstGeom prst="ellipse">
            <a:avLst/>
          </a:prstGeom>
          <a:noFill/>
          <a:ln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/>
          <a:lstStyle/>
          <a:p>
            <a:pPr lvl="0" algn="ctr"/>
            <a:r>
              <a:rPr lang="en-US" sz="1100" b="1" dirty="0">
                <a:solidFill>
                  <a:schemeClr val="bg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2</a:t>
            </a:r>
          </a:p>
        </p:txBody>
      </p:sp>
      <p:sp>
        <p:nvSpPr>
          <p:cNvPr id="126" name="Oval 125"/>
          <p:cNvSpPr/>
          <p:nvPr/>
        </p:nvSpPr>
        <p:spPr>
          <a:xfrm>
            <a:off x="1431926" y="4624826"/>
            <a:ext cx="318284" cy="294401"/>
          </a:xfrm>
          <a:prstGeom prst="ellipse">
            <a:avLst/>
          </a:prstGeom>
          <a:noFill/>
          <a:ln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/>
          <a:lstStyle/>
          <a:p>
            <a:pPr algn="ctr"/>
            <a:r>
              <a:rPr lang="en-US" sz="1100" b="1" dirty="0">
                <a:solidFill>
                  <a:schemeClr val="bg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3</a:t>
            </a:r>
          </a:p>
        </p:txBody>
      </p:sp>
      <p:sp>
        <p:nvSpPr>
          <p:cNvPr id="127" name="TextBox 126"/>
          <p:cNvSpPr txBox="1"/>
          <p:nvPr/>
        </p:nvSpPr>
        <p:spPr>
          <a:xfrm>
            <a:off x="1911749" y="1487478"/>
            <a:ext cx="2638709" cy="464448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2">
                <a:lumMod val="75000"/>
              </a:schemeClr>
            </a:solidFill>
          </a:ln>
        </p:spPr>
        <p:txBody>
          <a:bodyPr wrap="square" lIns="91440" tIns="0" rIns="0" bIns="0" rtlCol="0" anchor="ctr" anchorCtr="0">
            <a:noAutofit/>
          </a:bodyPr>
          <a:lstStyle/>
          <a:p>
            <a:r>
              <a:rPr lang="en-US" sz="1200" b="1">
                <a:solidFill>
                  <a:schemeClr val="bg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Discovery &amp; Mobilizing2</a:t>
            </a:r>
            <a:endParaRPr lang="en-US" sz="1200" b="1" dirty="0">
              <a:solidFill>
                <a:schemeClr val="bg2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28" name="Rounded Rectangle 127"/>
          <p:cNvSpPr/>
          <p:nvPr/>
        </p:nvSpPr>
        <p:spPr>
          <a:xfrm>
            <a:off x="1911748" y="2120846"/>
            <a:ext cx="8289102" cy="365760"/>
          </a:xfrm>
          <a:prstGeom prst="roundRect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200" b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Portfolio Rationalization</a:t>
            </a:r>
            <a:endParaRPr lang="en-US" sz="12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29" name="Rounded Rectangle 128"/>
          <p:cNvSpPr/>
          <p:nvPr/>
        </p:nvSpPr>
        <p:spPr>
          <a:xfrm>
            <a:off x="1911748" y="2693628"/>
            <a:ext cx="8289102" cy="325609"/>
          </a:xfrm>
          <a:prstGeom prst="round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200" b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Value Feasibility</a:t>
            </a:r>
            <a:endParaRPr lang="en-US" sz="12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130" name="Group 129"/>
          <p:cNvGrpSpPr/>
          <p:nvPr/>
        </p:nvGrpSpPr>
        <p:grpSpPr>
          <a:xfrm>
            <a:off x="6100833" y="1727210"/>
            <a:ext cx="2863980" cy="271509"/>
            <a:chOff x="3753499" y="1727208"/>
            <a:chExt cx="2643674" cy="271509"/>
          </a:xfrm>
        </p:grpSpPr>
        <p:grpSp>
          <p:nvGrpSpPr>
            <p:cNvPr id="131" name="Group 40"/>
            <p:cNvGrpSpPr/>
            <p:nvPr/>
          </p:nvGrpSpPr>
          <p:grpSpPr>
            <a:xfrm>
              <a:off x="3753499" y="1727208"/>
              <a:ext cx="290294" cy="271509"/>
              <a:chOff x="2497138" y="5654676"/>
              <a:chExt cx="700088" cy="700088"/>
            </a:xfrm>
          </p:grpSpPr>
          <p:sp>
            <p:nvSpPr>
              <p:cNvPr id="167" name="Freeform 527"/>
              <p:cNvSpPr>
                <a:spLocks noEditPoints="1"/>
              </p:cNvSpPr>
              <p:nvPr/>
            </p:nvSpPr>
            <p:spPr bwMode="auto">
              <a:xfrm>
                <a:off x="2497138" y="5654676"/>
                <a:ext cx="700088" cy="700088"/>
              </a:xfrm>
              <a:custGeom>
                <a:avLst/>
                <a:gdLst>
                  <a:gd name="T0" fmla="*/ 122 w 220"/>
                  <a:gd name="T1" fmla="*/ 220 h 220"/>
                  <a:gd name="T2" fmla="*/ 41 w 220"/>
                  <a:gd name="T3" fmla="*/ 220 h 220"/>
                  <a:gd name="T4" fmla="*/ 0 w 220"/>
                  <a:gd name="T5" fmla="*/ 178 h 220"/>
                  <a:gd name="T6" fmla="*/ 0 w 220"/>
                  <a:gd name="T7" fmla="*/ 41 h 220"/>
                  <a:gd name="T8" fmla="*/ 41 w 220"/>
                  <a:gd name="T9" fmla="*/ 0 h 220"/>
                  <a:gd name="T10" fmla="*/ 179 w 220"/>
                  <a:gd name="T11" fmla="*/ 0 h 220"/>
                  <a:gd name="T12" fmla="*/ 220 w 220"/>
                  <a:gd name="T13" fmla="*/ 41 h 220"/>
                  <a:gd name="T14" fmla="*/ 220 w 220"/>
                  <a:gd name="T15" fmla="*/ 178 h 220"/>
                  <a:gd name="T16" fmla="*/ 179 w 220"/>
                  <a:gd name="T17" fmla="*/ 220 h 220"/>
                  <a:gd name="T18" fmla="*/ 160 w 220"/>
                  <a:gd name="T19" fmla="*/ 220 h 220"/>
                  <a:gd name="T20" fmla="*/ 41 w 220"/>
                  <a:gd name="T21" fmla="*/ 13 h 220"/>
                  <a:gd name="T22" fmla="*/ 27 w 220"/>
                  <a:gd name="T23" fmla="*/ 27 h 220"/>
                  <a:gd name="T24" fmla="*/ 41 w 220"/>
                  <a:gd name="T25" fmla="*/ 41 h 220"/>
                  <a:gd name="T26" fmla="*/ 55 w 220"/>
                  <a:gd name="T27" fmla="*/ 27 h 220"/>
                  <a:gd name="T28" fmla="*/ 41 w 220"/>
                  <a:gd name="T29" fmla="*/ 13 h 220"/>
                  <a:gd name="T30" fmla="*/ 192 w 220"/>
                  <a:gd name="T31" fmla="*/ 55 h 220"/>
                  <a:gd name="T32" fmla="*/ 27 w 220"/>
                  <a:gd name="T33" fmla="*/ 55 h 220"/>
                  <a:gd name="T34" fmla="*/ 27 w 220"/>
                  <a:gd name="T35" fmla="*/ 178 h 220"/>
                  <a:gd name="T36" fmla="*/ 41 w 220"/>
                  <a:gd name="T37" fmla="*/ 192 h 220"/>
                  <a:gd name="T38" fmla="*/ 179 w 220"/>
                  <a:gd name="T39" fmla="*/ 192 h 220"/>
                  <a:gd name="T40" fmla="*/ 192 w 220"/>
                  <a:gd name="T41" fmla="*/ 178 h 220"/>
                  <a:gd name="T42" fmla="*/ 192 w 220"/>
                  <a:gd name="T43" fmla="*/ 55 h 2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220" h="220">
                    <a:moveTo>
                      <a:pt x="122" y="220"/>
                    </a:moveTo>
                    <a:cubicBezTo>
                      <a:pt x="41" y="220"/>
                      <a:pt x="41" y="220"/>
                      <a:pt x="41" y="220"/>
                    </a:cubicBezTo>
                    <a:cubicBezTo>
                      <a:pt x="18" y="220"/>
                      <a:pt x="0" y="201"/>
                      <a:pt x="0" y="178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18"/>
                      <a:pt x="18" y="0"/>
                      <a:pt x="41" y="0"/>
                    </a:cubicBezTo>
                    <a:cubicBezTo>
                      <a:pt x="179" y="0"/>
                      <a:pt x="179" y="0"/>
                      <a:pt x="179" y="0"/>
                    </a:cubicBezTo>
                    <a:cubicBezTo>
                      <a:pt x="201" y="0"/>
                      <a:pt x="220" y="18"/>
                      <a:pt x="220" y="41"/>
                    </a:cubicBezTo>
                    <a:cubicBezTo>
                      <a:pt x="220" y="178"/>
                      <a:pt x="220" y="178"/>
                      <a:pt x="220" y="178"/>
                    </a:cubicBezTo>
                    <a:cubicBezTo>
                      <a:pt x="220" y="201"/>
                      <a:pt x="201" y="220"/>
                      <a:pt x="179" y="220"/>
                    </a:cubicBezTo>
                    <a:cubicBezTo>
                      <a:pt x="160" y="220"/>
                      <a:pt x="160" y="220"/>
                      <a:pt x="160" y="220"/>
                    </a:cubicBezTo>
                    <a:moveTo>
                      <a:pt x="41" y="13"/>
                    </a:moveTo>
                    <a:cubicBezTo>
                      <a:pt x="33" y="13"/>
                      <a:pt x="27" y="19"/>
                      <a:pt x="27" y="27"/>
                    </a:cubicBezTo>
                    <a:cubicBezTo>
                      <a:pt x="27" y="35"/>
                      <a:pt x="33" y="41"/>
                      <a:pt x="41" y="41"/>
                    </a:cubicBezTo>
                    <a:cubicBezTo>
                      <a:pt x="49" y="41"/>
                      <a:pt x="55" y="35"/>
                      <a:pt x="55" y="27"/>
                    </a:cubicBezTo>
                    <a:cubicBezTo>
                      <a:pt x="55" y="19"/>
                      <a:pt x="49" y="13"/>
                      <a:pt x="41" y="13"/>
                    </a:cubicBezTo>
                    <a:close/>
                    <a:moveTo>
                      <a:pt x="192" y="55"/>
                    </a:moveTo>
                    <a:cubicBezTo>
                      <a:pt x="27" y="55"/>
                      <a:pt x="27" y="55"/>
                      <a:pt x="27" y="55"/>
                    </a:cubicBezTo>
                    <a:cubicBezTo>
                      <a:pt x="27" y="178"/>
                      <a:pt x="27" y="178"/>
                      <a:pt x="27" y="178"/>
                    </a:cubicBezTo>
                    <a:cubicBezTo>
                      <a:pt x="27" y="186"/>
                      <a:pt x="33" y="192"/>
                      <a:pt x="41" y="192"/>
                    </a:cubicBezTo>
                    <a:cubicBezTo>
                      <a:pt x="179" y="192"/>
                      <a:pt x="179" y="192"/>
                      <a:pt x="179" y="192"/>
                    </a:cubicBezTo>
                    <a:cubicBezTo>
                      <a:pt x="186" y="192"/>
                      <a:pt x="192" y="186"/>
                      <a:pt x="192" y="178"/>
                    </a:cubicBezTo>
                    <a:lnTo>
                      <a:pt x="192" y="55"/>
                    </a:lnTo>
                    <a:close/>
                  </a:path>
                </a:pathLst>
              </a:custGeom>
              <a:noFill/>
              <a:ln w="8" cap="rnd">
                <a:solidFill>
                  <a:schemeClr val="accent5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68" name="Freeform 528"/>
              <p:cNvSpPr>
                <a:spLocks noEditPoints="1"/>
              </p:cNvSpPr>
              <p:nvPr/>
            </p:nvSpPr>
            <p:spPr bwMode="auto">
              <a:xfrm>
                <a:off x="2921001" y="5875338"/>
                <a:ext cx="127000" cy="127000"/>
              </a:xfrm>
              <a:custGeom>
                <a:avLst/>
                <a:gdLst>
                  <a:gd name="T0" fmla="*/ 36 w 40"/>
                  <a:gd name="T1" fmla="*/ 17 h 40"/>
                  <a:gd name="T2" fmla="*/ 33 w 40"/>
                  <a:gd name="T3" fmla="*/ 10 h 40"/>
                  <a:gd name="T4" fmla="*/ 33 w 40"/>
                  <a:gd name="T5" fmla="*/ 6 h 40"/>
                  <a:gd name="T6" fmla="*/ 29 w 40"/>
                  <a:gd name="T7" fmla="*/ 7 h 40"/>
                  <a:gd name="T8" fmla="*/ 28 w 40"/>
                  <a:gd name="T9" fmla="*/ 7 h 40"/>
                  <a:gd name="T10" fmla="*/ 22 w 40"/>
                  <a:gd name="T11" fmla="*/ 2 h 40"/>
                  <a:gd name="T12" fmla="*/ 20 w 40"/>
                  <a:gd name="T13" fmla="*/ 0 h 40"/>
                  <a:gd name="T14" fmla="*/ 18 w 40"/>
                  <a:gd name="T15" fmla="*/ 1 h 40"/>
                  <a:gd name="T16" fmla="*/ 16 w 40"/>
                  <a:gd name="T17" fmla="*/ 5 h 40"/>
                  <a:gd name="T18" fmla="*/ 11 w 40"/>
                  <a:gd name="T19" fmla="*/ 7 h 40"/>
                  <a:gd name="T20" fmla="*/ 8 w 40"/>
                  <a:gd name="T21" fmla="*/ 6 h 40"/>
                  <a:gd name="T22" fmla="*/ 5 w 40"/>
                  <a:gd name="T23" fmla="*/ 6 h 40"/>
                  <a:gd name="T24" fmla="*/ 5 w 40"/>
                  <a:gd name="T25" fmla="*/ 9 h 40"/>
                  <a:gd name="T26" fmla="*/ 7 w 40"/>
                  <a:gd name="T27" fmla="*/ 12 h 40"/>
                  <a:gd name="T28" fmla="*/ 5 w 40"/>
                  <a:gd name="T29" fmla="*/ 17 h 40"/>
                  <a:gd name="T30" fmla="*/ 1 w 40"/>
                  <a:gd name="T31" fmla="*/ 18 h 40"/>
                  <a:gd name="T32" fmla="*/ 0 w 40"/>
                  <a:gd name="T33" fmla="*/ 20 h 40"/>
                  <a:gd name="T34" fmla="*/ 2 w 40"/>
                  <a:gd name="T35" fmla="*/ 22 h 40"/>
                  <a:gd name="T36" fmla="*/ 5 w 40"/>
                  <a:gd name="T37" fmla="*/ 23 h 40"/>
                  <a:gd name="T38" fmla="*/ 7 w 40"/>
                  <a:gd name="T39" fmla="*/ 28 h 40"/>
                  <a:gd name="T40" fmla="*/ 5 w 40"/>
                  <a:gd name="T41" fmla="*/ 31 h 40"/>
                  <a:gd name="T42" fmla="*/ 6 w 40"/>
                  <a:gd name="T43" fmla="*/ 34 h 40"/>
                  <a:gd name="T44" fmla="*/ 9 w 40"/>
                  <a:gd name="T45" fmla="*/ 34 h 40"/>
                  <a:gd name="T46" fmla="*/ 11 w 40"/>
                  <a:gd name="T47" fmla="*/ 33 h 40"/>
                  <a:gd name="T48" fmla="*/ 16 w 40"/>
                  <a:gd name="T49" fmla="*/ 35 h 40"/>
                  <a:gd name="T50" fmla="*/ 18 w 40"/>
                  <a:gd name="T51" fmla="*/ 38 h 40"/>
                  <a:gd name="T52" fmla="*/ 19 w 40"/>
                  <a:gd name="T53" fmla="*/ 40 h 40"/>
                  <a:gd name="T54" fmla="*/ 22 w 40"/>
                  <a:gd name="T55" fmla="*/ 38 h 40"/>
                  <a:gd name="T56" fmla="*/ 23 w 40"/>
                  <a:gd name="T57" fmla="*/ 35 h 40"/>
                  <a:gd name="T58" fmla="*/ 31 w 40"/>
                  <a:gd name="T59" fmla="*/ 34 h 40"/>
                  <a:gd name="T60" fmla="*/ 34 w 40"/>
                  <a:gd name="T61" fmla="*/ 34 h 40"/>
                  <a:gd name="T62" fmla="*/ 34 w 40"/>
                  <a:gd name="T63" fmla="*/ 30 h 40"/>
                  <a:gd name="T64" fmla="*/ 36 w 40"/>
                  <a:gd name="T65" fmla="*/ 22 h 40"/>
                  <a:gd name="T66" fmla="*/ 40 w 40"/>
                  <a:gd name="T67" fmla="*/ 20 h 40"/>
                  <a:gd name="T68" fmla="*/ 36 w 40"/>
                  <a:gd name="T69" fmla="*/ 17 h 40"/>
                  <a:gd name="T70" fmla="*/ 20 w 40"/>
                  <a:gd name="T71" fmla="*/ 30 h 40"/>
                  <a:gd name="T72" fmla="*/ 11 w 40"/>
                  <a:gd name="T73" fmla="*/ 21 h 40"/>
                  <a:gd name="T74" fmla="*/ 20 w 40"/>
                  <a:gd name="T75" fmla="*/ 12 h 40"/>
                  <a:gd name="T76" fmla="*/ 29 w 40"/>
                  <a:gd name="T77" fmla="*/ 21 h 40"/>
                  <a:gd name="T78" fmla="*/ 20 w 40"/>
                  <a:gd name="T79" fmla="*/ 30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40" h="40">
                    <a:moveTo>
                      <a:pt x="36" y="17"/>
                    </a:moveTo>
                    <a:cubicBezTo>
                      <a:pt x="34" y="16"/>
                      <a:pt x="32" y="12"/>
                      <a:pt x="33" y="10"/>
                    </a:cubicBezTo>
                    <a:cubicBezTo>
                      <a:pt x="34" y="8"/>
                      <a:pt x="35" y="7"/>
                      <a:pt x="33" y="6"/>
                    </a:cubicBezTo>
                    <a:cubicBezTo>
                      <a:pt x="32" y="4"/>
                      <a:pt x="31" y="6"/>
                      <a:pt x="29" y="7"/>
                    </a:cubicBezTo>
                    <a:cubicBezTo>
                      <a:pt x="29" y="7"/>
                      <a:pt x="28" y="7"/>
                      <a:pt x="28" y="7"/>
                    </a:cubicBezTo>
                    <a:cubicBezTo>
                      <a:pt x="26" y="7"/>
                      <a:pt x="22" y="6"/>
                      <a:pt x="22" y="2"/>
                    </a:cubicBezTo>
                    <a:cubicBezTo>
                      <a:pt x="22" y="0"/>
                      <a:pt x="21" y="0"/>
                      <a:pt x="20" y="0"/>
                    </a:cubicBezTo>
                    <a:cubicBezTo>
                      <a:pt x="19" y="0"/>
                      <a:pt x="18" y="0"/>
                      <a:pt x="18" y="1"/>
                    </a:cubicBezTo>
                    <a:cubicBezTo>
                      <a:pt x="18" y="3"/>
                      <a:pt x="17" y="4"/>
                      <a:pt x="16" y="5"/>
                    </a:cubicBezTo>
                    <a:cubicBezTo>
                      <a:pt x="15" y="6"/>
                      <a:pt x="13" y="7"/>
                      <a:pt x="11" y="7"/>
                    </a:cubicBezTo>
                    <a:cubicBezTo>
                      <a:pt x="10" y="7"/>
                      <a:pt x="9" y="6"/>
                      <a:pt x="8" y="6"/>
                    </a:cubicBezTo>
                    <a:cubicBezTo>
                      <a:pt x="7" y="5"/>
                      <a:pt x="6" y="5"/>
                      <a:pt x="5" y="6"/>
                    </a:cubicBezTo>
                    <a:cubicBezTo>
                      <a:pt x="4" y="7"/>
                      <a:pt x="5" y="8"/>
                      <a:pt x="5" y="9"/>
                    </a:cubicBezTo>
                    <a:cubicBezTo>
                      <a:pt x="6" y="10"/>
                      <a:pt x="7" y="11"/>
                      <a:pt x="7" y="12"/>
                    </a:cubicBezTo>
                    <a:cubicBezTo>
                      <a:pt x="7" y="13"/>
                      <a:pt x="6" y="15"/>
                      <a:pt x="5" y="17"/>
                    </a:cubicBezTo>
                    <a:cubicBezTo>
                      <a:pt x="4" y="17"/>
                      <a:pt x="3" y="18"/>
                      <a:pt x="1" y="18"/>
                    </a:cubicBezTo>
                    <a:cubicBezTo>
                      <a:pt x="0" y="18"/>
                      <a:pt x="0" y="19"/>
                      <a:pt x="0" y="20"/>
                    </a:cubicBezTo>
                    <a:cubicBezTo>
                      <a:pt x="0" y="21"/>
                      <a:pt x="0" y="22"/>
                      <a:pt x="2" y="22"/>
                    </a:cubicBezTo>
                    <a:cubicBezTo>
                      <a:pt x="3" y="22"/>
                      <a:pt x="4" y="22"/>
                      <a:pt x="5" y="23"/>
                    </a:cubicBezTo>
                    <a:cubicBezTo>
                      <a:pt x="6" y="25"/>
                      <a:pt x="6" y="26"/>
                      <a:pt x="7" y="28"/>
                    </a:cubicBezTo>
                    <a:cubicBezTo>
                      <a:pt x="7" y="29"/>
                      <a:pt x="6" y="30"/>
                      <a:pt x="5" y="31"/>
                    </a:cubicBezTo>
                    <a:cubicBezTo>
                      <a:pt x="5" y="32"/>
                      <a:pt x="4" y="33"/>
                      <a:pt x="6" y="34"/>
                    </a:cubicBezTo>
                    <a:cubicBezTo>
                      <a:pt x="7" y="35"/>
                      <a:pt x="7" y="35"/>
                      <a:pt x="9" y="34"/>
                    </a:cubicBezTo>
                    <a:cubicBezTo>
                      <a:pt x="9" y="34"/>
                      <a:pt x="11" y="33"/>
                      <a:pt x="11" y="33"/>
                    </a:cubicBezTo>
                    <a:cubicBezTo>
                      <a:pt x="13" y="33"/>
                      <a:pt x="15" y="34"/>
                      <a:pt x="16" y="35"/>
                    </a:cubicBezTo>
                    <a:cubicBezTo>
                      <a:pt x="17" y="36"/>
                      <a:pt x="17" y="37"/>
                      <a:pt x="18" y="38"/>
                    </a:cubicBezTo>
                    <a:cubicBezTo>
                      <a:pt x="18" y="39"/>
                      <a:pt x="18" y="40"/>
                      <a:pt x="19" y="40"/>
                    </a:cubicBezTo>
                    <a:cubicBezTo>
                      <a:pt x="21" y="40"/>
                      <a:pt x="22" y="40"/>
                      <a:pt x="22" y="38"/>
                    </a:cubicBezTo>
                    <a:cubicBezTo>
                      <a:pt x="22" y="37"/>
                      <a:pt x="23" y="35"/>
                      <a:pt x="23" y="35"/>
                    </a:cubicBezTo>
                    <a:cubicBezTo>
                      <a:pt x="26" y="34"/>
                      <a:pt x="29" y="32"/>
                      <a:pt x="31" y="34"/>
                    </a:cubicBezTo>
                    <a:cubicBezTo>
                      <a:pt x="31" y="34"/>
                      <a:pt x="33" y="35"/>
                      <a:pt x="34" y="34"/>
                    </a:cubicBezTo>
                    <a:cubicBezTo>
                      <a:pt x="36" y="32"/>
                      <a:pt x="35" y="31"/>
                      <a:pt x="34" y="30"/>
                    </a:cubicBezTo>
                    <a:cubicBezTo>
                      <a:pt x="32" y="27"/>
                      <a:pt x="34" y="22"/>
                      <a:pt x="36" y="22"/>
                    </a:cubicBezTo>
                    <a:cubicBezTo>
                      <a:pt x="39" y="22"/>
                      <a:pt x="40" y="22"/>
                      <a:pt x="40" y="20"/>
                    </a:cubicBezTo>
                    <a:cubicBezTo>
                      <a:pt x="40" y="17"/>
                      <a:pt x="37" y="18"/>
                      <a:pt x="36" y="17"/>
                    </a:cubicBezTo>
                    <a:close/>
                    <a:moveTo>
                      <a:pt x="20" y="30"/>
                    </a:moveTo>
                    <a:cubicBezTo>
                      <a:pt x="15" y="30"/>
                      <a:pt x="11" y="26"/>
                      <a:pt x="11" y="21"/>
                    </a:cubicBezTo>
                    <a:cubicBezTo>
                      <a:pt x="11" y="16"/>
                      <a:pt x="15" y="12"/>
                      <a:pt x="20" y="12"/>
                    </a:cubicBezTo>
                    <a:cubicBezTo>
                      <a:pt x="25" y="12"/>
                      <a:pt x="29" y="16"/>
                      <a:pt x="29" y="21"/>
                    </a:cubicBezTo>
                    <a:cubicBezTo>
                      <a:pt x="29" y="26"/>
                      <a:pt x="25" y="30"/>
                      <a:pt x="20" y="30"/>
                    </a:cubicBezTo>
                    <a:close/>
                  </a:path>
                </a:pathLst>
              </a:custGeom>
              <a:noFill/>
              <a:ln w="4" cap="rnd">
                <a:solidFill>
                  <a:schemeClr val="accent5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69" name="Freeform 529"/>
              <p:cNvSpPr>
                <a:spLocks noEditPoints="1"/>
              </p:cNvSpPr>
              <p:nvPr/>
            </p:nvSpPr>
            <p:spPr bwMode="auto">
              <a:xfrm>
                <a:off x="2749551" y="6107113"/>
                <a:ext cx="127000" cy="127000"/>
              </a:xfrm>
              <a:custGeom>
                <a:avLst/>
                <a:gdLst>
                  <a:gd name="T0" fmla="*/ 37 w 40"/>
                  <a:gd name="T1" fmla="*/ 17 h 40"/>
                  <a:gd name="T2" fmla="*/ 33 w 40"/>
                  <a:gd name="T3" fmla="*/ 10 h 40"/>
                  <a:gd name="T4" fmla="*/ 34 w 40"/>
                  <a:gd name="T5" fmla="*/ 6 h 40"/>
                  <a:gd name="T6" fmla="*/ 30 w 40"/>
                  <a:gd name="T7" fmla="*/ 7 h 40"/>
                  <a:gd name="T8" fmla="*/ 29 w 40"/>
                  <a:gd name="T9" fmla="*/ 7 h 40"/>
                  <a:gd name="T10" fmla="*/ 22 w 40"/>
                  <a:gd name="T11" fmla="*/ 2 h 40"/>
                  <a:gd name="T12" fmla="*/ 21 w 40"/>
                  <a:gd name="T13" fmla="*/ 0 h 40"/>
                  <a:gd name="T14" fmla="*/ 18 w 40"/>
                  <a:gd name="T15" fmla="*/ 1 h 40"/>
                  <a:gd name="T16" fmla="*/ 17 w 40"/>
                  <a:gd name="T17" fmla="*/ 5 h 40"/>
                  <a:gd name="T18" fmla="*/ 12 w 40"/>
                  <a:gd name="T19" fmla="*/ 7 h 40"/>
                  <a:gd name="T20" fmla="*/ 9 w 40"/>
                  <a:gd name="T21" fmla="*/ 5 h 40"/>
                  <a:gd name="T22" fmla="*/ 6 w 40"/>
                  <a:gd name="T23" fmla="*/ 6 h 40"/>
                  <a:gd name="T24" fmla="*/ 6 w 40"/>
                  <a:gd name="T25" fmla="*/ 9 h 40"/>
                  <a:gd name="T26" fmla="*/ 7 w 40"/>
                  <a:gd name="T27" fmla="*/ 12 h 40"/>
                  <a:gd name="T28" fmla="*/ 5 w 40"/>
                  <a:gd name="T29" fmla="*/ 17 h 40"/>
                  <a:gd name="T30" fmla="*/ 2 w 40"/>
                  <a:gd name="T31" fmla="*/ 18 h 40"/>
                  <a:gd name="T32" fmla="*/ 0 w 40"/>
                  <a:gd name="T33" fmla="*/ 20 h 40"/>
                  <a:gd name="T34" fmla="*/ 2 w 40"/>
                  <a:gd name="T35" fmla="*/ 22 h 40"/>
                  <a:gd name="T36" fmla="*/ 5 w 40"/>
                  <a:gd name="T37" fmla="*/ 23 h 40"/>
                  <a:gd name="T38" fmla="*/ 7 w 40"/>
                  <a:gd name="T39" fmla="*/ 28 h 40"/>
                  <a:gd name="T40" fmla="*/ 6 w 40"/>
                  <a:gd name="T41" fmla="*/ 31 h 40"/>
                  <a:gd name="T42" fmla="*/ 6 w 40"/>
                  <a:gd name="T43" fmla="*/ 34 h 40"/>
                  <a:gd name="T44" fmla="*/ 9 w 40"/>
                  <a:gd name="T45" fmla="*/ 34 h 40"/>
                  <a:gd name="T46" fmla="*/ 12 w 40"/>
                  <a:gd name="T47" fmla="*/ 33 h 40"/>
                  <a:gd name="T48" fmla="*/ 17 w 40"/>
                  <a:gd name="T49" fmla="*/ 35 h 40"/>
                  <a:gd name="T50" fmla="*/ 18 w 40"/>
                  <a:gd name="T51" fmla="*/ 38 h 40"/>
                  <a:gd name="T52" fmla="*/ 20 w 40"/>
                  <a:gd name="T53" fmla="*/ 40 h 40"/>
                  <a:gd name="T54" fmla="*/ 22 w 40"/>
                  <a:gd name="T55" fmla="*/ 38 h 40"/>
                  <a:gd name="T56" fmla="*/ 24 w 40"/>
                  <a:gd name="T57" fmla="*/ 35 h 40"/>
                  <a:gd name="T58" fmla="*/ 32 w 40"/>
                  <a:gd name="T59" fmla="*/ 34 h 40"/>
                  <a:gd name="T60" fmla="*/ 35 w 40"/>
                  <a:gd name="T61" fmla="*/ 34 h 40"/>
                  <a:gd name="T62" fmla="*/ 35 w 40"/>
                  <a:gd name="T63" fmla="*/ 30 h 40"/>
                  <a:gd name="T64" fmla="*/ 37 w 40"/>
                  <a:gd name="T65" fmla="*/ 22 h 40"/>
                  <a:gd name="T66" fmla="*/ 40 w 40"/>
                  <a:gd name="T67" fmla="*/ 20 h 40"/>
                  <a:gd name="T68" fmla="*/ 37 w 40"/>
                  <a:gd name="T69" fmla="*/ 17 h 40"/>
                  <a:gd name="T70" fmla="*/ 21 w 40"/>
                  <a:gd name="T71" fmla="*/ 30 h 40"/>
                  <a:gd name="T72" fmla="*/ 12 w 40"/>
                  <a:gd name="T73" fmla="*/ 21 h 40"/>
                  <a:gd name="T74" fmla="*/ 21 w 40"/>
                  <a:gd name="T75" fmla="*/ 12 h 40"/>
                  <a:gd name="T76" fmla="*/ 30 w 40"/>
                  <a:gd name="T77" fmla="*/ 21 h 40"/>
                  <a:gd name="T78" fmla="*/ 21 w 40"/>
                  <a:gd name="T79" fmla="*/ 30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40" h="40">
                    <a:moveTo>
                      <a:pt x="37" y="17"/>
                    </a:moveTo>
                    <a:cubicBezTo>
                      <a:pt x="34" y="16"/>
                      <a:pt x="32" y="12"/>
                      <a:pt x="33" y="10"/>
                    </a:cubicBezTo>
                    <a:cubicBezTo>
                      <a:pt x="34" y="8"/>
                      <a:pt x="35" y="7"/>
                      <a:pt x="34" y="6"/>
                    </a:cubicBezTo>
                    <a:cubicBezTo>
                      <a:pt x="32" y="4"/>
                      <a:pt x="31" y="6"/>
                      <a:pt x="30" y="7"/>
                    </a:cubicBezTo>
                    <a:cubicBezTo>
                      <a:pt x="30" y="7"/>
                      <a:pt x="29" y="7"/>
                      <a:pt x="29" y="7"/>
                    </a:cubicBezTo>
                    <a:cubicBezTo>
                      <a:pt x="27" y="7"/>
                      <a:pt x="22" y="6"/>
                      <a:pt x="22" y="2"/>
                    </a:cubicBezTo>
                    <a:cubicBezTo>
                      <a:pt x="22" y="0"/>
                      <a:pt x="22" y="0"/>
                      <a:pt x="21" y="0"/>
                    </a:cubicBezTo>
                    <a:cubicBezTo>
                      <a:pt x="19" y="0"/>
                      <a:pt x="19" y="0"/>
                      <a:pt x="18" y="1"/>
                    </a:cubicBezTo>
                    <a:cubicBezTo>
                      <a:pt x="18" y="3"/>
                      <a:pt x="18" y="4"/>
                      <a:pt x="17" y="5"/>
                    </a:cubicBezTo>
                    <a:cubicBezTo>
                      <a:pt x="16" y="6"/>
                      <a:pt x="14" y="7"/>
                      <a:pt x="12" y="7"/>
                    </a:cubicBezTo>
                    <a:cubicBezTo>
                      <a:pt x="11" y="7"/>
                      <a:pt x="10" y="6"/>
                      <a:pt x="9" y="5"/>
                    </a:cubicBezTo>
                    <a:cubicBezTo>
                      <a:pt x="8" y="5"/>
                      <a:pt x="7" y="5"/>
                      <a:pt x="6" y="6"/>
                    </a:cubicBezTo>
                    <a:cubicBezTo>
                      <a:pt x="5" y="7"/>
                      <a:pt x="5" y="8"/>
                      <a:pt x="6" y="9"/>
                    </a:cubicBezTo>
                    <a:cubicBezTo>
                      <a:pt x="6" y="10"/>
                      <a:pt x="7" y="11"/>
                      <a:pt x="7" y="12"/>
                    </a:cubicBezTo>
                    <a:cubicBezTo>
                      <a:pt x="7" y="13"/>
                      <a:pt x="6" y="15"/>
                      <a:pt x="5" y="17"/>
                    </a:cubicBezTo>
                    <a:cubicBezTo>
                      <a:pt x="5" y="17"/>
                      <a:pt x="3" y="18"/>
                      <a:pt x="2" y="18"/>
                    </a:cubicBezTo>
                    <a:cubicBezTo>
                      <a:pt x="1" y="18"/>
                      <a:pt x="0" y="19"/>
                      <a:pt x="0" y="20"/>
                    </a:cubicBezTo>
                    <a:cubicBezTo>
                      <a:pt x="0" y="21"/>
                      <a:pt x="1" y="22"/>
                      <a:pt x="2" y="22"/>
                    </a:cubicBezTo>
                    <a:cubicBezTo>
                      <a:pt x="3" y="22"/>
                      <a:pt x="5" y="22"/>
                      <a:pt x="5" y="23"/>
                    </a:cubicBezTo>
                    <a:cubicBezTo>
                      <a:pt x="6" y="25"/>
                      <a:pt x="7" y="26"/>
                      <a:pt x="7" y="28"/>
                    </a:cubicBezTo>
                    <a:cubicBezTo>
                      <a:pt x="7" y="29"/>
                      <a:pt x="6" y="30"/>
                      <a:pt x="6" y="31"/>
                    </a:cubicBezTo>
                    <a:cubicBezTo>
                      <a:pt x="5" y="32"/>
                      <a:pt x="5" y="33"/>
                      <a:pt x="6" y="34"/>
                    </a:cubicBezTo>
                    <a:cubicBezTo>
                      <a:pt x="7" y="35"/>
                      <a:pt x="8" y="35"/>
                      <a:pt x="9" y="34"/>
                    </a:cubicBezTo>
                    <a:cubicBezTo>
                      <a:pt x="10" y="34"/>
                      <a:pt x="11" y="33"/>
                      <a:pt x="12" y="33"/>
                    </a:cubicBezTo>
                    <a:cubicBezTo>
                      <a:pt x="14" y="33"/>
                      <a:pt x="15" y="34"/>
                      <a:pt x="17" y="35"/>
                    </a:cubicBezTo>
                    <a:cubicBezTo>
                      <a:pt x="18" y="36"/>
                      <a:pt x="18" y="37"/>
                      <a:pt x="18" y="38"/>
                    </a:cubicBezTo>
                    <a:cubicBezTo>
                      <a:pt x="18" y="39"/>
                      <a:pt x="18" y="40"/>
                      <a:pt x="20" y="40"/>
                    </a:cubicBezTo>
                    <a:cubicBezTo>
                      <a:pt x="21" y="40"/>
                      <a:pt x="22" y="40"/>
                      <a:pt x="22" y="38"/>
                    </a:cubicBezTo>
                    <a:cubicBezTo>
                      <a:pt x="23" y="37"/>
                      <a:pt x="23" y="35"/>
                      <a:pt x="24" y="35"/>
                    </a:cubicBezTo>
                    <a:cubicBezTo>
                      <a:pt x="27" y="34"/>
                      <a:pt x="29" y="32"/>
                      <a:pt x="32" y="34"/>
                    </a:cubicBezTo>
                    <a:cubicBezTo>
                      <a:pt x="32" y="34"/>
                      <a:pt x="33" y="35"/>
                      <a:pt x="35" y="34"/>
                    </a:cubicBezTo>
                    <a:cubicBezTo>
                      <a:pt x="36" y="32"/>
                      <a:pt x="35" y="31"/>
                      <a:pt x="35" y="30"/>
                    </a:cubicBezTo>
                    <a:cubicBezTo>
                      <a:pt x="32" y="27"/>
                      <a:pt x="34" y="22"/>
                      <a:pt x="37" y="22"/>
                    </a:cubicBezTo>
                    <a:cubicBezTo>
                      <a:pt x="39" y="22"/>
                      <a:pt x="40" y="22"/>
                      <a:pt x="40" y="20"/>
                    </a:cubicBezTo>
                    <a:cubicBezTo>
                      <a:pt x="40" y="17"/>
                      <a:pt x="38" y="18"/>
                      <a:pt x="37" y="17"/>
                    </a:cubicBezTo>
                    <a:close/>
                    <a:moveTo>
                      <a:pt x="21" y="30"/>
                    </a:moveTo>
                    <a:cubicBezTo>
                      <a:pt x="16" y="30"/>
                      <a:pt x="12" y="26"/>
                      <a:pt x="12" y="21"/>
                    </a:cubicBezTo>
                    <a:cubicBezTo>
                      <a:pt x="12" y="16"/>
                      <a:pt x="16" y="12"/>
                      <a:pt x="21" y="12"/>
                    </a:cubicBezTo>
                    <a:cubicBezTo>
                      <a:pt x="26" y="12"/>
                      <a:pt x="30" y="16"/>
                      <a:pt x="30" y="21"/>
                    </a:cubicBezTo>
                    <a:cubicBezTo>
                      <a:pt x="30" y="26"/>
                      <a:pt x="26" y="30"/>
                      <a:pt x="21" y="30"/>
                    </a:cubicBezTo>
                    <a:close/>
                  </a:path>
                </a:pathLst>
              </a:custGeom>
              <a:noFill/>
              <a:ln w="4" cap="rnd">
                <a:solidFill>
                  <a:schemeClr val="accent5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70" name="Freeform 530"/>
              <p:cNvSpPr>
                <a:spLocks noEditPoints="1"/>
              </p:cNvSpPr>
              <p:nvPr/>
            </p:nvSpPr>
            <p:spPr bwMode="auto">
              <a:xfrm>
                <a:off x="2679701" y="5859463"/>
                <a:ext cx="225425" cy="228600"/>
              </a:xfrm>
              <a:custGeom>
                <a:avLst/>
                <a:gdLst>
                  <a:gd name="T0" fmla="*/ 66 w 71"/>
                  <a:gd name="T1" fmla="*/ 31 h 72"/>
                  <a:gd name="T2" fmla="*/ 59 w 71"/>
                  <a:gd name="T3" fmla="*/ 18 h 72"/>
                  <a:gd name="T4" fmla="*/ 60 w 71"/>
                  <a:gd name="T5" fmla="*/ 11 h 72"/>
                  <a:gd name="T6" fmla="*/ 53 w 71"/>
                  <a:gd name="T7" fmla="*/ 12 h 72"/>
                  <a:gd name="T8" fmla="*/ 51 w 71"/>
                  <a:gd name="T9" fmla="*/ 13 h 72"/>
                  <a:gd name="T10" fmla="*/ 39 w 71"/>
                  <a:gd name="T11" fmla="*/ 3 h 72"/>
                  <a:gd name="T12" fmla="*/ 36 w 71"/>
                  <a:gd name="T13" fmla="*/ 1 h 72"/>
                  <a:gd name="T14" fmla="*/ 32 w 71"/>
                  <a:gd name="T15" fmla="*/ 3 h 72"/>
                  <a:gd name="T16" fmla="*/ 30 w 71"/>
                  <a:gd name="T17" fmla="*/ 9 h 72"/>
                  <a:gd name="T18" fmla="*/ 21 w 71"/>
                  <a:gd name="T19" fmla="*/ 13 h 72"/>
                  <a:gd name="T20" fmla="*/ 15 w 71"/>
                  <a:gd name="T21" fmla="*/ 10 h 72"/>
                  <a:gd name="T22" fmla="*/ 10 w 71"/>
                  <a:gd name="T23" fmla="*/ 11 h 72"/>
                  <a:gd name="T24" fmla="*/ 10 w 71"/>
                  <a:gd name="T25" fmla="*/ 16 h 72"/>
                  <a:gd name="T26" fmla="*/ 13 w 71"/>
                  <a:gd name="T27" fmla="*/ 21 h 72"/>
                  <a:gd name="T28" fmla="*/ 9 w 71"/>
                  <a:gd name="T29" fmla="*/ 30 h 72"/>
                  <a:gd name="T30" fmla="*/ 3 w 71"/>
                  <a:gd name="T31" fmla="*/ 32 h 72"/>
                  <a:gd name="T32" fmla="*/ 0 w 71"/>
                  <a:gd name="T33" fmla="*/ 36 h 72"/>
                  <a:gd name="T34" fmla="*/ 3 w 71"/>
                  <a:gd name="T35" fmla="*/ 40 h 72"/>
                  <a:gd name="T36" fmla="*/ 9 w 71"/>
                  <a:gd name="T37" fmla="*/ 42 h 72"/>
                  <a:gd name="T38" fmla="*/ 13 w 71"/>
                  <a:gd name="T39" fmla="*/ 51 h 72"/>
                  <a:gd name="T40" fmla="*/ 10 w 71"/>
                  <a:gd name="T41" fmla="*/ 56 h 72"/>
                  <a:gd name="T42" fmla="*/ 10 w 71"/>
                  <a:gd name="T43" fmla="*/ 62 h 72"/>
                  <a:gd name="T44" fmla="*/ 16 w 71"/>
                  <a:gd name="T45" fmla="*/ 62 h 72"/>
                  <a:gd name="T46" fmla="*/ 21 w 71"/>
                  <a:gd name="T47" fmla="*/ 59 h 72"/>
                  <a:gd name="T48" fmla="*/ 30 w 71"/>
                  <a:gd name="T49" fmla="*/ 63 h 72"/>
                  <a:gd name="T50" fmla="*/ 32 w 71"/>
                  <a:gd name="T51" fmla="*/ 69 h 72"/>
                  <a:gd name="T52" fmla="*/ 35 w 71"/>
                  <a:gd name="T53" fmla="*/ 72 h 72"/>
                  <a:gd name="T54" fmla="*/ 40 w 71"/>
                  <a:gd name="T55" fmla="*/ 69 h 72"/>
                  <a:gd name="T56" fmla="*/ 42 w 71"/>
                  <a:gd name="T57" fmla="*/ 63 h 72"/>
                  <a:gd name="T58" fmla="*/ 56 w 71"/>
                  <a:gd name="T59" fmla="*/ 61 h 72"/>
                  <a:gd name="T60" fmla="*/ 62 w 71"/>
                  <a:gd name="T61" fmla="*/ 61 h 72"/>
                  <a:gd name="T62" fmla="*/ 61 w 71"/>
                  <a:gd name="T63" fmla="*/ 54 h 72"/>
                  <a:gd name="T64" fmla="*/ 65 w 71"/>
                  <a:gd name="T65" fmla="*/ 40 h 72"/>
                  <a:gd name="T66" fmla="*/ 71 w 71"/>
                  <a:gd name="T67" fmla="*/ 36 h 72"/>
                  <a:gd name="T68" fmla="*/ 66 w 71"/>
                  <a:gd name="T69" fmla="*/ 31 h 72"/>
                  <a:gd name="T70" fmla="*/ 36 w 71"/>
                  <a:gd name="T71" fmla="*/ 54 h 72"/>
                  <a:gd name="T72" fmla="*/ 20 w 71"/>
                  <a:gd name="T73" fmla="*/ 37 h 72"/>
                  <a:gd name="T74" fmla="*/ 37 w 71"/>
                  <a:gd name="T75" fmla="*/ 21 h 72"/>
                  <a:gd name="T76" fmla="*/ 53 w 71"/>
                  <a:gd name="T77" fmla="*/ 38 h 72"/>
                  <a:gd name="T78" fmla="*/ 36 w 71"/>
                  <a:gd name="T79" fmla="*/ 54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71" h="72">
                    <a:moveTo>
                      <a:pt x="66" y="31"/>
                    </a:moveTo>
                    <a:cubicBezTo>
                      <a:pt x="61" y="30"/>
                      <a:pt x="57" y="22"/>
                      <a:pt x="59" y="18"/>
                    </a:cubicBezTo>
                    <a:cubicBezTo>
                      <a:pt x="61" y="14"/>
                      <a:pt x="62" y="13"/>
                      <a:pt x="60" y="11"/>
                    </a:cubicBezTo>
                    <a:cubicBezTo>
                      <a:pt x="57" y="8"/>
                      <a:pt x="55" y="11"/>
                      <a:pt x="53" y="12"/>
                    </a:cubicBezTo>
                    <a:cubicBezTo>
                      <a:pt x="52" y="13"/>
                      <a:pt x="51" y="13"/>
                      <a:pt x="51" y="13"/>
                    </a:cubicBezTo>
                    <a:cubicBezTo>
                      <a:pt x="47" y="14"/>
                      <a:pt x="39" y="11"/>
                      <a:pt x="39" y="3"/>
                    </a:cubicBezTo>
                    <a:cubicBezTo>
                      <a:pt x="39" y="1"/>
                      <a:pt x="38" y="0"/>
                      <a:pt x="36" y="1"/>
                    </a:cubicBezTo>
                    <a:cubicBezTo>
                      <a:pt x="34" y="1"/>
                      <a:pt x="33" y="1"/>
                      <a:pt x="32" y="3"/>
                    </a:cubicBezTo>
                    <a:cubicBezTo>
                      <a:pt x="32" y="5"/>
                      <a:pt x="31" y="8"/>
                      <a:pt x="30" y="9"/>
                    </a:cubicBezTo>
                    <a:cubicBezTo>
                      <a:pt x="28" y="11"/>
                      <a:pt x="24" y="13"/>
                      <a:pt x="21" y="13"/>
                    </a:cubicBezTo>
                    <a:cubicBezTo>
                      <a:pt x="19" y="13"/>
                      <a:pt x="17" y="12"/>
                      <a:pt x="15" y="10"/>
                    </a:cubicBezTo>
                    <a:cubicBezTo>
                      <a:pt x="13" y="9"/>
                      <a:pt x="12" y="9"/>
                      <a:pt x="10" y="11"/>
                    </a:cubicBezTo>
                    <a:cubicBezTo>
                      <a:pt x="8" y="13"/>
                      <a:pt x="9" y="14"/>
                      <a:pt x="10" y="16"/>
                    </a:cubicBezTo>
                    <a:cubicBezTo>
                      <a:pt x="11" y="18"/>
                      <a:pt x="13" y="20"/>
                      <a:pt x="13" y="21"/>
                    </a:cubicBezTo>
                    <a:cubicBezTo>
                      <a:pt x="12" y="25"/>
                      <a:pt x="11" y="28"/>
                      <a:pt x="9" y="30"/>
                    </a:cubicBezTo>
                    <a:cubicBezTo>
                      <a:pt x="8" y="32"/>
                      <a:pt x="5" y="32"/>
                      <a:pt x="3" y="32"/>
                    </a:cubicBezTo>
                    <a:cubicBezTo>
                      <a:pt x="1" y="33"/>
                      <a:pt x="0" y="34"/>
                      <a:pt x="0" y="36"/>
                    </a:cubicBezTo>
                    <a:cubicBezTo>
                      <a:pt x="0" y="39"/>
                      <a:pt x="1" y="40"/>
                      <a:pt x="3" y="40"/>
                    </a:cubicBezTo>
                    <a:cubicBezTo>
                      <a:pt x="5" y="40"/>
                      <a:pt x="8" y="41"/>
                      <a:pt x="9" y="42"/>
                    </a:cubicBezTo>
                    <a:cubicBezTo>
                      <a:pt x="11" y="45"/>
                      <a:pt x="12" y="48"/>
                      <a:pt x="13" y="51"/>
                    </a:cubicBezTo>
                    <a:cubicBezTo>
                      <a:pt x="13" y="53"/>
                      <a:pt x="11" y="55"/>
                      <a:pt x="10" y="56"/>
                    </a:cubicBezTo>
                    <a:cubicBezTo>
                      <a:pt x="9" y="58"/>
                      <a:pt x="8" y="60"/>
                      <a:pt x="10" y="62"/>
                    </a:cubicBezTo>
                    <a:cubicBezTo>
                      <a:pt x="12" y="64"/>
                      <a:pt x="14" y="63"/>
                      <a:pt x="16" y="62"/>
                    </a:cubicBezTo>
                    <a:cubicBezTo>
                      <a:pt x="17" y="61"/>
                      <a:pt x="19" y="59"/>
                      <a:pt x="21" y="59"/>
                    </a:cubicBezTo>
                    <a:cubicBezTo>
                      <a:pt x="24" y="60"/>
                      <a:pt x="27" y="61"/>
                      <a:pt x="30" y="63"/>
                    </a:cubicBezTo>
                    <a:cubicBezTo>
                      <a:pt x="31" y="64"/>
                      <a:pt x="31" y="67"/>
                      <a:pt x="32" y="69"/>
                    </a:cubicBezTo>
                    <a:cubicBezTo>
                      <a:pt x="32" y="71"/>
                      <a:pt x="32" y="72"/>
                      <a:pt x="35" y="72"/>
                    </a:cubicBezTo>
                    <a:cubicBezTo>
                      <a:pt x="38" y="72"/>
                      <a:pt x="39" y="72"/>
                      <a:pt x="40" y="69"/>
                    </a:cubicBezTo>
                    <a:cubicBezTo>
                      <a:pt x="40" y="67"/>
                      <a:pt x="41" y="64"/>
                      <a:pt x="42" y="63"/>
                    </a:cubicBezTo>
                    <a:cubicBezTo>
                      <a:pt x="47" y="61"/>
                      <a:pt x="51" y="57"/>
                      <a:pt x="56" y="61"/>
                    </a:cubicBezTo>
                    <a:cubicBezTo>
                      <a:pt x="56" y="62"/>
                      <a:pt x="59" y="64"/>
                      <a:pt x="62" y="61"/>
                    </a:cubicBezTo>
                    <a:cubicBezTo>
                      <a:pt x="64" y="58"/>
                      <a:pt x="63" y="56"/>
                      <a:pt x="61" y="54"/>
                    </a:cubicBezTo>
                    <a:cubicBezTo>
                      <a:pt x="57" y="49"/>
                      <a:pt x="61" y="40"/>
                      <a:pt x="65" y="40"/>
                    </a:cubicBezTo>
                    <a:cubicBezTo>
                      <a:pt x="70" y="40"/>
                      <a:pt x="71" y="39"/>
                      <a:pt x="71" y="36"/>
                    </a:cubicBezTo>
                    <a:cubicBezTo>
                      <a:pt x="71" y="32"/>
                      <a:pt x="67" y="32"/>
                      <a:pt x="66" y="31"/>
                    </a:cubicBezTo>
                    <a:close/>
                    <a:moveTo>
                      <a:pt x="36" y="54"/>
                    </a:moveTo>
                    <a:cubicBezTo>
                      <a:pt x="27" y="54"/>
                      <a:pt x="20" y="46"/>
                      <a:pt x="20" y="37"/>
                    </a:cubicBezTo>
                    <a:cubicBezTo>
                      <a:pt x="20" y="29"/>
                      <a:pt x="28" y="21"/>
                      <a:pt x="37" y="21"/>
                    </a:cubicBezTo>
                    <a:cubicBezTo>
                      <a:pt x="45" y="21"/>
                      <a:pt x="53" y="29"/>
                      <a:pt x="53" y="38"/>
                    </a:cubicBezTo>
                    <a:cubicBezTo>
                      <a:pt x="53" y="47"/>
                      <a:pt x="45" y="54"/>
                      <a:pt x="36" y="54"/>
                    </a:cubicBezTo>
                    <a:close/>
                  </a:path>
                </a:pathLst>
              </a:custGeom>
              <a:noFill/>
              <a:ln w="4" cap="rnd">
                <a:solidFill>
                  <a:schemeClr val="accent5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latin typeface="Arial" pitchFamily="34" charset="0"/>
                  <a:cs typeface="Arial" pitchFamily="34" charset="0"/>
                </a:endParaRPr>
              </a:p>
            </p:txBody>
          </p:sp>
        </p:grpSp>
        <p:grpSp>
          <p:nvGrpSpPr>
            <p:cNvPr id="132" name="Group 41"/>
            <p:cNvGrpSpPr/>
            <p:nvPr/>
          </p:nvGrpSpPr>
          <p:grpSpPr>
            <a:xfrm>
              <a:off x="4089696" y="1727208"/>
              <a:ext cx="290294" cy="271509"/>
              <a:chOff x="2497138" y="5654676"/>
              <a:chExt cx="700088" cy="700088"/>
            </a:xfrm>
          </p:grpSpPr>
          <p:sp>
            <p:nvSpPr>
              <p:cNvPr id="163" name="Freeform 527"/>
              <p:cNvSpPr>
                <a:spLocks noEditPoints="1"/>
              </p:cNvSpPr>
              <p:nvPr/>
            </p:nvSpPr>
            <p:spPr bwMode="auto">
              <a:xfrm>
                <a:off x="2497138" y="5654676"/>
                <a:ext cx="700088" cy="700088"/>
              </a:xfrm>
              <a:custGeom>
                <a:avLst/>
                <a:gdLst>
                  <a:gd name="T0" fmla="*/ 122 w 220"/>
                  <a:gd name="T1" fmla="*/ 220 h 220"/>
                  <a:gd name="T2" fmla="*/ 41 w 220"/>
                  <a:gd name="T3" fmla="*/ 220 h 220"/>
                  <a:gd name="T4" fmla="*/ 0 w 220"/>
                  <a:gd name="T5" fmla="*/ 178 h 220"/>
                  <a:gd name="T6" fmla="*/ 0 w 220"/>
                  <a:gd name="T7" fmla="*/ 41 h 220"/>
                  <a:gd name="T8" fmla="*/ 41 w 220"/>
                  <a:gd name="T9" fmla="*/ 0 h 220"/>
                  <a:gd name="T10" fmla="*/ 179 w 220"/>
                  <a:gd name="T11" fmla="*/ 0 h 220"/>
                  <a:gd name="T12" fmla="*/ 220 w 220"/>
                  <a:gd name="T13" fmla="*/ 41 h 220"/>
                  <a:gd name="T14" fmla="*/ 220 w 220"/>
                  <a:gd name="T15" fmla="*/ 178 h 220"/>
                  <a:gd name="T16" fmla="*/ 179 w 220"/>
                  <a:gd name="T17" fmla="*/ 220 h 220"/>
                  <a:gd name="T18" fmla="*/ 160 w 220"/>
                  <a:gd name="T19" fmla="*/ 220 h 220"/>
                  <a:gd name="T20" fmla="*/ 41 w 220"/>
                  <a:gd name="T21" fmla="*/ 13 h 220"/>
                  <a:gd name="T22" fmla="*/ 27 w 220"/>
                  <a:gd name="T23" fmla="*/ 27 h 220"/>
                  <a:gd name="T24" fmla="*/ 41 w 220"/>
                  <a:gd name="T25" fmla="*/ 41 h 220"/>
                  <a:gd name="T26" fmla="*/ 55 w 220"/>
                  <a:gd name="T27" fmla="*/ 27 h 220"/>
                  <a:gd name="T28" fmla="*/ 41 w 220"/>
                  <a:gd name="T29" fmla="*/ 13 h 220"/>
                  <a:gd name="T30" fmla="*/ 192 w 220"/>
                  <a:gd name="T31" fmla="*/ 55 h 220"/>
                  <a:gd name="T32" fmla="*/ 27 w 220"/>
                  <a:gd name="T33" fmla="*/ 55 h 220"/>
                  <a:gd name="T34" fmla="*/ 27 w 220"/>
                  <a:gd name="T35" fmla="*/ 178 h 220"/>
                  <a:gd name="T36" fmla="*/ 41 w 220"/>
                  <a:gd name="T37" fmla="*/ 192 h 220"/>
                  <a:gd name="T38" fmla="*/ 179 w 220"/>
                  <a:gd name="T39" fmla="*/ 192 h 220"/>
                  <a:gd name="T40" fmla="*/ 192 w 220"/>
                  <a:gd name="T41" fmla="*/ 178 h 220"/>
                  <a:gd name="T42" fmla="*/ 192 w 220"/>
                  <a:gd name="T43" fmla="*/ 55 h 2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220" h="220">
                    <a:moveTo>
                      <a:pt x="122" y="220"/>
                    </a:moveTo>
                    <a:cubicBezTo>
                      <a:pt x="41" y="220"/>
                      <a:pt x="41" y="220"/>
                      <a:pt x="41" y="220"/>
                    </a:cubicBezTo>
                    <a:cubicBezTo>
                      <a:pt x="18" y="220"/>
                      <a:pt x="0" y="201"/>
                      <a:pt x="0" y="178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18"/>
                      <a:pt x="18" y="0"/>
                      <a:pt x="41" y="0"/>
                    </a:cubicBezTo>
                    <a:cubicBezTo>
                      <a:pt x="179" y="0"/>
                      <a:pt x="179" y="0"/>
                      <a:pt x="179" y="0"/>
                    </a:cubicBezTo>
                    <a:cubicBezTo>
                      <a:pt x="201" y="0"/>
                      <a:pt x="220" y="18"/>
                      <a:pt x="220" y="41"/>
                    </a:cubicBezTo>
                    <a:cubicBezTo>
                      <a:pt x="220" y="178"/>
                      <a:pt x="220" y="178"/>
                      <a:pt x="220" y="178"/>
                    </a:cubicBezTo>
                    <a:cubicBezTo>
                      <a:pt x="220" y="201"/>
                      <a:pt x="201" y="220"/>
                      <a:pt x="179" y="220"/>
                    </a:cubicBezTo>
                    <a:cubicBezTo>
                      <a:pt x="160" y="220"/>
                      <a:pt x="160" y="220"/>
                      <a:pt x="160" y="220"/>
                    </a:cubicBezTo>
                    <a:moveTo>
                      <a:pt x="41" y="13"/>
                    </a:moveTo>
                    <a:cubicBezTo>
                      <a:pt x="33" y="13"/>
                      <a:pt x="27" y="19"/>
                      <a:pt x="27" y="27"/>
                    </a:cubicBezTo>
                    <a:cubicBezTo>
                      <a:pt x="27" y="35"/>
                      <a:pt x="33" y="41"/>
                      <a:pt x="41" y="41"/>
                    </a:cubicBezTo>
                    <a:cubicBezTo>
                      <a:pt x="49" y="41"/>
                      <a:pt x="55" y="35"/>
                      <a:pt x="55" y="27"/>
                    </a:cubicBezTo>
                    <a:cubicBezTo>
                      <a:pt x="55" y="19"/>
                      <a:pt x="49" y="13"/>
                      <a:pt x="41" y="13"/>
                    </a:cubicBezTo>
                    <a:close/>
                    <a:moveTo>
                      <a:pt x="192" y="55"/>
                    </a:moveTo>
                    <a:cubicBezTo>
                      <a:pt x="27" y="55"/>
                      <a:pt x="27" y="55"/>
                      <a:pt x="27" y="55"/>
                    </a:cubicBezTo>
                    <a:cubicBezTo>
                      <a:pt x="27" y="178"/>
                      <a:pt x="27" y="178"/>
                      <a:pt x="27" y="178"/>
                    </a:cubicBezTo>
                    <a:cubicBezTo>
                      <a:pt x="27" y="186"/>
                      <a:pt x="33" y="192"/>
                      <a:pt x="41" y="192"/>
                    </a:cubicBezTo>
                    <a:cubicBezTo>
                      <a:pt x="179" y="192"/>
                      <a:pt x="179" y="192"/>
                      <a:pt x="179" y="192"/>
                    </a:cubicBezTo>
                    <a:cubicBezTo>
                      <a:pt x="186" y="192"/>
                      <a:pt x="192" y="186"/>
                      <a:pt x="192" y="178"/>
                    </a:cubicBezTo>
                    <a:lnTo>
                      <a:pt x="192" y="55"/>
                    </a:lnTo>
                    <a:close/>
                  </a:path>
                </a:pathLst>
              </a:custGeom>
              <a:noFill/>
              <a:ln w="8" cap="rnd">
                <a:solidFill>
                  <a:schemeClr val="accent5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64" name="Freeform 528"/>
              <p:cNvSpPr>
                <a:spLocks noEditPoints="1"/>
              </p:cNvSpPr>
              <p:nvPr/>
            </p:nvSpPr>
            <p:spPr bwMode="auto">
              <a:xfrm>
                <a:off x="2921001" y="5875338"/>
                <a:ext cx="127000" cy="127000"/>
              </a:xfrm>
              <a:custGeom>
                <a:avLst/>
                <a:gdLst>
                  <a:gd name="T0" fmla="*/ 36 w 40"/>
                  <a:gd name="T1" fmla="*/ 17 h 40"/>
                  <a:gd name="T2" fmla="*/ 33 w 40"/>
                  <a:gd name="T3" fmla="*/ 10 h 40"/>
                  <a:gd name="T4" fmla="*/ 33 w 40"/>
                  <a:gd name="T5" fmla="*/ 6 h 40"/>
                  <a:gd name="T6" fmla="*/ 29 w 40"/>
                  <a:gd name="T7" fmla="*/ 7 h 40"/>
                  <a:gd name="T8" fmla="*/ 28 w 40"/>
                  <a:gd name="T9" fmla="*/ 7 h 40"/>
                  <a:gd name="T10" fmla="*/ 22 w 40"/>
                  <a:gd name="T11" fmla="*/ 2 h 40"/>
                  <a:gd name="T12" fmla="*/ 20 w 40"/>
                  <a:gd name="T13" fmla="*/ 0 h 40"/>
                  <a:gd name="T14" fmla="*/ 18 w 40"/>
                  <a:gd name="T15" fmla="*/ 1 h 40"/>
                  <a:gd name="T16" fmla="*/ 16 w 40"/>
                  <a:gd name="T17" fmla="*/ 5 h 40"/>
                  <a:gd name="T18" fmla="*/ 11 w 40"/>
                  <a:gd name="T19" fmla="*/ 7 h 40"/>
                  <a:gd name="T20" fmla="*/ 8 w 40"/>
                  <a:gd name="T21" fmla="*/ 6 h 40"/>
                  <a:gd name="T22" fmla="*/ 5 w 40"/>
                  <a:gd name="T23" fmla="*/ 6 h 40"/>
                  <a:gd name="T24" fmla="*/ 5 w 40"/>
                  <a:gd name="T25" fmla="*/ 9 h 40"/>
                  <a:gd name="T26" fmla="*/ 7 w 40"/>
                  <a:gd name="T27" fmla="*/ 12 h 40"/>
                  <a:gd name="T28" fmla="*/ 5 w 40"/>
                  <a:gd name="T29" fmla="*/ 17 h 40"/>
                  <a:gd name="T30" fmla="*/ 1 w 40"/>
                  <a:gd name="T31" fmla="*/ 18 h 40"/>
                  <a:gd name="T32" fmla="*/ 0 w 40"/>
                  <a:gd name="T33" fmla="*/ 20 h 40"/>
                  <a:gd name="T34" fmla="*/ 2 w 40"/>
                  <a:gd name="T35" fmla="*/ 22 h 40"/>
                  <a:gd name="T36" fmla="*/ 5 w 40"/>
                  <a:gd name="T37" fmla="*/ 23 h 40"/>
                  <a:gd name="T38" fmla="*/ 7 w 40"/>
                  <a:gd name="T39" fmla="*/ 28 h 40"/>
                  <a:gd name="T40" fmla="*/ 5 w 40"/>
                  <a:gd name="T41" fmla="*/ 31 h 40"/>
                  <a:gd name="T42" fmla="*/ 6 w 40"/>
                  <a:gd name="T43" fmla="*/ 34 h 40"/>
                  <a:gd name="T44" fmla="*/ 9 w 40"/>
                  <a:gd name="T45" fmla="*/ 34 h 40"/>
                  <a:gd name="T46" fmla="*/ 11 w 40"/>
                  <a:gd name="T47" fmla="*/ 33 h 40"/>
                  <a:gd name="T48" fmla="*/ 16 w 40"/>
                  <a:gd name="T49" fmla="*/ 35 h 40"/>
                  <a:gd name="T50" fmla="*/ 18 w 40"/>
                  <a:gd name="T51" fmla="*/ 38 h 40"/>
                  <a:gd name="T52" fmla="*/ 19 w 40"/>
                  <a:gd name="T53" fmla="*/ 40 h 40"/>
                  <a:gd name="T54" fmla="*/ 22 w 40"/>
                  <a:gd name="T55" fmla="*/ 38 h 40"/>
                  <a:gd name="T56" fmla="*/ 23 w 40"/>
                  <a:gd name="T57" fmla="*/ 35 h 40"/>
                  <a:gd name="T58" fmla="*/ 31 w 40"/>
                  <a:gd name="T59" fmla="*/ 34 h 40"/>
                  <a:gd name="T60" fmla="*/ 34 w 40"/>
                  <a:gd name="T61" fmla="*/ 34 h 40"/>
                  <a:gd name="T62" fmla="*/ 34 w 40"/>
                  <a:gd name="T63" fmla="*/ 30 h 40"/>
                  <a:gd name="T64" fmla="*/ 36 w 40"/>
                  <a:gd name="T65" fmla="*/ 22 h 40"/>
                  <a:gd name="T66" fmla="*/ 40 w 40"/>
                  <a:gd name="T67" fmla="*/ 20 h 40"/>
                  <a:gd name="T68" fmla="*/ 36 w 40"/>
                  <a:gd name="T69" fmla="*/ 17 h 40"/>
                  <a:gd name="T70" fmla="*/ 20 w 40"/>
                  <a:gd name="T71" fmla="*/ 30 h 40"/>
                  <a:gd name="T72" fmla="*/ 11 w 40"/>
                  <a:gd name="T73" fmla="*/ 21 h 40"/>
                  <a:gd name="T74" fmla="*/ 20 w 40"/>
                  <a:gd name="T75" fmla="*/ 12 h 40"/>
                  <a:gd name="T76" fmla="*/ 29 w 40"/>
                  <a:gd name="T77" fmla="*/ 21 h 40"/>
                  <a:gd name="T78" fmla="*/ 20 w 40"/>
                  <a:gd name="T79" fmla="*/ 30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40" h="40">
                    <a:moveTo>
                      <a:pt x="36" y="17"/>
                    </a:moveTo>
                    <a:cubicBezTo>
                      <a:pt x="34" y="16"/>
                      <a:pt x="32" y="12"/>
                      <a:pt x="33" y="10"/>
                    </a:cubicBezTo>
                    <a:cubicBezTo>
                      <a:pt x="34" y="8"/>
                      <a:pt x="35" y="7"/>
                      <a:pt x="33" y="6"/>
                    </a:cubicBezTo>
                    <a:cubicBezTo>
                      <a:pt x="32" y="4"/>
                      <a:pt x="31" y="6"/>
                      <a:pt x="29" y="7"/>
                    </a:cubicBezTo>
                    <a:cubicBezTo>
                      <a:pt x="29" y="7"/>
                      <a:pt x="28" y="7"/>
                      <a:pt x="28" y="7"/>
                    </a:cubicBezTo>
                    <a:cubicBezTo>
                      <a:pt x="26" y="7"/>
                      <a:pt x="22" y="6"/>
                      <a:pt x="22" y="2"/>
                    </a:cubicBezTo>
                    <a:cubicBezTo>
                      <a:pt x="22" y="0"/>
                      <a:pt x="21" y="0"/>
                      <a:pt x="20" y="0"/>
                    </a:cubicBezTo>
                    <a:cubicBezTo>
                      <a:pt x="19" y="0"/>
                      <a:pt x="18" y="0"/>
                      <a:pt x="18" y="1"/>
                    </a:cubicBezTo>
                    <a:cubicBezTo>
                      <a:pt x="18" y="3"/>
                      <a:pt x="17" y="4"/>
                      <a:pt x="16" y="5"/>
                    </a:cubicBezTo>
                    <a:cubicBezTo>
                      <a:pt x="15" y="6"/>
                      <a:pt x="13" y="7"/>
                      <a:pt x="11" y="7"/>
                    </a:cubicBezTo>
                    <a:cubicBezTo>
                      <a:pt x="10" y="7"/>
                      <a:pt x="9" y="6"/>
                      <a:pt x="8" y="6"/>
                    </a:cubicBezTo>
                    <a:cubicBezTo>
                      <a:pt x="7" y="5"/>
                      <a:pt x="6" y="5"/>
                      <a:pt x="5" y="6"/>
                    </a:cubicBezTo>
                    <a:cubicBezTo>
                      <a:pt x="4" y="7"/>
                      <a:pt x="5" y="8"/>
                      <a:pt x="5" y="9"/>
                    </a:cubicBezTo>
                    <a:cubicBezTo>
                      <a:pt x="6" y="10"/>
                      <a:pt x="7" y="11"/>
                      <a:pt x="7" y="12"/>
                    </a:cubicBezTo>
                    <a:cubicBezTo>
                      <a:pt x="7" y="13"/>
                      <a:pt x="6" y="15"/>
                      <a:pt x="5" y="17"/>
                    </a:cubicBezTo>
                    <a:cubicBezTo>
                      <a:pt x="4" y="17"/>
                      <a:pt x="3" y="18"/>
                      <a:pt x="1" y="18"/>
                    </a:cubicBezTo>
                    <a:cubicBezTo>
                      <a:pt x="0" y="18"/>
                      <a:pt x="0" y="19"/>
                      <a:pt x="0" y="20"/>
                    </a:cubicBezTo>
                    <a:cubicBezTo>
                      <a:pt x="0" y="21"/>
                      <a:pt x="0" y="22"/>
                      <a:pt x="2" y="22"/>
                    </a:cubicBezTo>
                    <a:cubicBezTo>
                      <a:pt x="3" y="22"/>
                      <a:pt x="4" y="22"/>
                      <a:pt x="5" y="23"/>
                    </a:cubicBezTo>
                    <a:cubicBezTo>
                      <a:pt x="6" y="25"/>
                      <a:pt x="6" y="26"/>
                      <a:pt x="7" y="28"/>
                    </a:cubicBezTo>
                    <a:cubicBezTo>
                      <a:pt x="7" y="29"/>
                      <a:pt x="6" y="30"/>
                      <a:pt x="5" y="31"/>
                    </a:cubicBezTo>
                    <a:cubicBezTo>
                      <a:pt x="5" y="32"/>
                      <a:pt x="4" y="33"/>
                      <a:pt x="6" y="34"/>
                    </a:cubicBezTo>
                    <a:cubicBezTo>
                      <a:pt x="7" y="35"/>
                      <a:pt x="7" y="35"/>
                      <a:pt x="9" y="34"/>
                    </a:cubicBezTo>
                    <a:cubicBezTo>
                      <a:pt x="9" y="34"/>
                      <a:pt x="11" y="33"/>
                      <a:pt x="11" y="33"/>
                    </a:cubicBezTo>
                    <a:cubicBezTo>
                      <a:pt x="13" y="33"/>
                      <a:pt x="15" y="34"/>
                      <a:pt x="16" y="35"/>
                    </a:cubicBezTo>
                    <a:cubicBezTo>
                      <a:pt x="17" y="36"/>
                      <a:pt x="17" y="37"/>
                      <a:pt x="18" y="38"/>
                    </a:cubicBezTo>
                    <a:cubicBezTo>
                      <a:pt x="18" y="39"/>
                      <a:pt x="18" y="40"/>
                      <a:pt x="19" y="40"/>
                    </a:cubicBezTo>
                    <a:cubicBezTo>
                      <a:pt x="21" y="40"/>
                      <a:pt x="22" y="40"/>
                      <a:pt x="22" y="38"/>
                    </a:cubicBezTo>
                    <a:cubicBezTo>
                      <a:pt x="22" y="37"/>
                      <a:pt x="23" y="35"/>
                      <a:pt x="23" y="35"/>
                    </a:cubicBezTo>
                    <a:cubicBezTo>
                      <a:pt x="26" y="34"/>
                      <a:pt x="29" y="32"/>
                      <a:pt x="31" y="34"/>
                    </a:cubicBezTo>
                    <a:cubicBezTo>
                      <a:pt x="31" y="34"/>
                      <a:pt x="33" y="35"/>
                      <a:pt x="34" y="34"/>
                    </a:cubicBezTo>
                    <a:cubicBezTo>
                      <a:pt x="36" y="32"/>
                      <a:pt x="35" y="31"/>
                      <a:pt x="34" y="30"/>
                    </a:cubicBezTo>
                    <a:cubicBezTo>
                      <a:pt x="32" y="27"/>
                      <a:pt x="34" y="22"/>
                      <a:pt x="36" y="22"/>
                    </a:cubicBezTo>
                    <a:cubicBezTo>
                      <a:pt x="39" y="22"/>
                      <a:pt x="40" y="22"/>
                      <a:pt x="40" y="20"/>
                    </a:cubicBezTo>
                    <a:cubicBezTo>
                      <a:pt x="40" y="17"/>
                      <a:pt x="37" y="18"/>
                      <a:pt x="36" y="17"/>
                    </a:cubicBezTo>
                    <a:close/>
                    <a:moveTo>
                      <a:pt x="20" y="30"/>
                    </a:moveTo>
                    <a:cubicBezTo>
                      <a:pt x="15" y="30"/>
                      <a:pt x="11" y="26"/>
                      <a:pt x="11" y="21"/>
                    </a:cubicBezTo>
                    <a:cubicBezTo>
                      <a:pt x="11" y="16"/>
                      <a:pt x="15" y="12"/>
                      <a:pt x="20" y="12"/>
                    </a:cubicBezTo>
                    <a:cubicBezTo>
                      <a:pt x="25" y="12"/>
                      <a:pt x="29" y="16"/>
                      <a:pt x="29" y="21"/>
                    </a:cubicBezTo>
                    <a:cubicBezTo>
                      <a:pt x="29" y="26"/>
                      <a:pt x="25" y="30"/>
                      <a:pt x="20" y="30"/>
                    </a:cubicBezTo>
                    <a:close/>
                  </a:path>
                </a:pathLst>
              </a:custGeom>
              <a:noFill/>
              <a:ln w="4" cap="rnd">
                <a:solidFill>
                  <a:schemeClr val="accent5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65" name="Freeform 529"/>
              <p:cNvSpPr>
                <a:spLocks noEditPoints="1"/>
              </p:cNvSpPr>
              <p:nvPr/>
            </p:nvSpPr>
            <p:spPr bwMode="auto">
              <a:xfrm>
                <a:off x="2749551" y="6107113"/>
                <a:ext cx="127000" cy="127000"/>
              </a:xfrm>
              <a:custGeom>
                <a:avLst/>
                <a:gdLst>
                  <a:gd name="T0" fmla="*/ 37 w 40"/>
                  <a:gd name="T1" fmla="*/ 17 h 40"/>
                  <a:gd name="T2" fmla="*/ 33 w 40"/>
                  <a:gd name="T3" fmla="*/ 10 h 40"/>
                  <a:gd name="T4" fmla="*/ 34 w 40"/>
                  <a:gd name="T5" fmla="*/ 6 h 40"/>
                  <a:gd name="T6" fmla="*/ 30 w 40"/>
                  <a:gd name="T7" fmla="*/ 7 h 40"/>
                  <a:gd name="T8" fmla="*/ 29 w 40"/>
                  <a:gd name="T9" fmla="*/ 7 h 40"/>
                  <a:gd name="T10" fmla="*/ 22 w 40"/>
                  <a:gd name="T11" fmla="*/ 2 h 40"/>
                  <a:gd name="T12" fmla="*/ 21 w 40"/>
                  <a:gd name="T13" fmla="*/ 0 h 40"/>
                  <a:gd name="T14" fmla="*/ 18 w 40"/>
                  <a:gd name="T15" fmla="*/ 1 h 40"/>
                  <a:gd name="T16" fmla="*/ 17 w 40"/>
                  <a:gd name="T17" fmla="*/ 5 h 40"/>
                  <a:gd name="T18" fmla="*/ 12 w 40"/>
                  <a:gd name="T19" fmla="*/ 7 h 40"/>
                  <a:gd name="T20" fmla="*/ 9 w 40"/>
                  <a:gd name="T21" fmla="*/ 5 h 40"/>
                  <a:gd name="T22" fmla="*/ 6 w 40"/>
                  <a:gd name="T23" fmla="*/ 6 h 40"/>
                  <a:gd name="T24" fmla="*/ 6 w 40"/>
                  <a:gd name="T25" fmla="*/ 9 h 40"/>
                  <a:gd name="T26" fmla="*/ 7 w 40"/>
                  <a:gd name="T27" fmla="*/ 12 h 40"/>
                  <a:gd name="T28" fmla="*/ 5 w 40"/>
                  <a:gd name="T29" fmla="*/ 17 h 40"/>
                  <a:gd name="T30" fmla="*/ 2 w 40"/>
                  <a:gd name="T31" fmla="*/ 18 h 40"/>
                  <a:gd name="T32" fmla="*/ 0 w 40"/>
                  <a:gd name="T33" fmla="*/ 20 h 40"/>
                  <a:gd name="T34" fmla="*/ 2 w 40"/>
                  <a:gd name="T35" fmla="*/ 22 h 40"/>
                  <a:gd name="T36" fmla="*/ 5 w 40"/>
                  <a:gd name="T37" fmla="*/ 23 h 40"/>
                  <a:gd name="T38" fmla="*/ 7 w 40"/>
                  <a:gd name="T39" fmla="*/ 28 h 40"/>
                  <a:gd name="T40" fmla="*/ 6 w 40"/>
                  <a:gd name="T41" fmla="*/ 31 h 40"/>
                  <a:gd name="T42" fmla="*/ 6 w 40"/>
                  <a:gd name="T43" fmla="*/ 34 h 40"/>
                  <a:gd name="T44" fmla="*/ 9 w 40"/>
                  <a:gd name="T45" fmla="*/ 34 h 40"/>
                  <a:gd name="T46" fmla="*/ 12 w 40"/>
                  <a:gd name="T47" fmla="*/ 33 h 40"/>
                  <a:gd name="T48" fmla="*/ 17 w 40"/>
                  <a:gd name="T49" fmla="*/ 35 h 40"/>
                  <a:gd name="T50" fmla="*/ 18 w 40"/>
                  <a:gd name="T51" fmla="*/ 38 h 40"/>
                  <a:gd name="T52" fmla="*/ 20 w 40"/>
                  <a:gd name="T53" fmla="*/ 40 h 40"/>
                  <a:gd name="T54" fmla="*/ 22 w 40"/>
                  <a:gd name="T55" fmla="*/ 38 h 40"/>
                  <a:gd name="T56" fmla="*/ 24 w 40"/>
                  <a:gd name="T57" fmla="*/ 35 h 40"/>
                  <a:gd name="T58" fmla="*/ 32 w 40"/>
                  <a:gd name="T59" fmla="*/ 34 h 40"/>
                  <a:gd name="T60" fmla="*/ 35 w 40"/>
                  <a:gd name="T61" fmla="*/ 34 h 40"/>
                  <a:gd name="T62" fmla="*/ 35 w 40"/>
                  <a:gd name="T63" fmla="*/ 30 h 40"/>
                  <a:gd name="T64" fmla="*/ 37 w 40"/>
                  <a:gd name="T65" fmla="*/ 22 h 40"/>
                  <a:gd name="T66" fmla="*/ 40 w 40"/>
                  <a:gd name="T67" fmla="*/ 20 h 40"/>
                  <a:gd name="T68" fmla="*/ 37 w 40"/>
                  <a:gd name="T69" fmla="*/ 17 h 40"/>
                  <a:gd name="T70" fmla="*/ 21 w 40"/>
                  <a:gd name="T71" fmla="*/ 30 h 40"/>
                  <a:gd name="T72" fmla="*/ 12 w 40"/>
                  <a:gd name="T73" fmla="*/ 21 h 40"/>
                  <a:gd name="T74" fmla="*/ 21 w 40"/>
                  <a:gd name="T75" fmla="*/ 12 h 40"/>
                  <a:gd name="T76" fmla="*/ 30 w 40"/>
                  <a:gd name="T77" fmla="*/ 21 h 40"/>
                  <a:gd name="T78" fmla="*/ 21 w 40"/>
                  <a:gd name="T79" fmla="*/ 30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40" h="40">
                    <a:moveTo>
                      <a:pt x="37" y="17"/>
                    </a:moveTo>
                    <a:cubicBezTo>
                      <a:pt x="34" y="16"/>
                      <a:pt x="32" y="12"/>
                      <a:pt x="33" y="10"/>
                    </a:cubicBezTo>
                    <a:cubicBezTo>
                      <a:pt x="34" y="8"/>
                      <a:pt x="35" y="7"/>
                      <a:pt x="34" y="6"/>
                    </a:cubicBezTo>
                    <a:cubicBezTo>
                      <a:pt x="32" y="4"/>
                      <a:pt x="31" y="6"/>
                      <a:pt x="30" y="7"/>
                    </a:cubicBezTo>
                    <a:cubicBezTo>
                      <a:pt x="30" y="7"/>
                      <a:pt x="29" y="7"/>
                      <a:pt x="29" y="7"/>
                    </a:cubicBezTo>
                    <a:cubicBezTo>
                      <a:pt x="27" y="7"/>
                      <a:pt x="22" y="6"/>
                      <a:pt x="22" y="2"/>
                    </a:cubicBezTo>
                    <a:cubicBezTo>
                      <a:pt x="22" y="0"/>
                      <a:pt x="22" y="0"/>
                      <a:pt x="21" y="0"/>
                    </a:cubicBezTo>
                    <a:cubicBezTo>
                      <a:pt x="19" y="0"/>
                      <a:pt x="19" y="0"/>
                      <a:pt x="18" y="1"/>
                    </a:cubicBezTo>
                    <a:cubicBezTo>
                      <a:pt x="18" y="3"/>
                      <a:pt x="18" y="4"/>
                      <a:pt x="17" y="5"/>
                    </a:cubicBezTo>
                    <a:cubicBezTo>
                      <a:pt x="16" y="6"/>
                      <a:pt x="14" y="7"/>
                      <a:pt x="12" y="7"/>
                    </a:cubicBezTo>
                    <a:cubicBezTo>
                      <a:pt x="11" y="7"/>
                      <a:pt x="10" y="6"/>
                      <a:pt x="9" y="5"/>
                    </a:cubicBezTo>
                    <a:cubicBezTo>
                      <a:pt x="8" y="5"/>
                      <a:pt x="7" y="5"/>
                      <a:pt x="6" y="6"/>
                    </a:cubicBezTo>
                    <a:cubicBezTo>
                      <a:pt x="5" y="7"/>
                      <a:pt x="5" y="8"/>
                      <a:pt x="6" y="9"/>
                    </a:cubicBezTo>
                    <a:cubicBezTo>
                      <a:pt x="6" y="10"/>
                      <a:pt x="7" y="11"/>
                      <a:pt x="7" y="12"/>
                    </a:cubicBezTo>
                    <a:cubicBezTo>
                      <a:pt x="7" y="13"/>
                      <a:pt x="6" y="15"/>
                      <a:pt x="5" y="17"/>
                    </a:cubicBezTo>
                    <a:cubicBezTo>
                      <a:pt x="5" y="17"/>
                      <a:pt x="3" y="18"/>
                      <a:pt x="2" y="18"/>
                    </a:cubicBezTo>
                    <a:cubicBezTo>
                      <a:pt x="1" y="18"/>
                      <a:pt x="0" y="19"/>
                      <a:pt x="0" y="20"/>
                    </a:cubicBezTo>
                    <a:cubicBezTo>
                      <a:pt x="0" y="21"/>
                      <a:pt x="1" y="22"/>
                      <a:pt x="2" y="22"/>
                    </a:cubicBezTo>
                    <a:cubicBezTo>
                      <a:pt x="3" y="22"/>
                      <a:pt x="5" y="22"/>
                      <a:pt x="5" y="23"/>
                    </a:cubicBezTo>
                    <a:cubicBezTo>
                      <a:pt x="6" y="25"/>
                      <a:pt x="7" y="26"/>
                      <a:pt x="7" y="28"/>
                    </a:cubicBezTo>
                    <a:cubicBezTo>
                      <a:pt x="7" y="29"/>
                      <a:pt x="6" y="30"/>
                      <a:pt x="6" y="31"/>
                    </a:cubicBezTo>
                    <a:cubicBezTo>
                      <a:pt x="5" y="32"/>
                      <a:pt x="5" y="33"/>
                      <a:pt x="6" y="34"/>
                    </a:cubicBezTo>
                    <a:cubicBezTo>
                      <a:pt x="7" y="35"/>
                      <a:pt x="8" y="35"/>
                      <a:pt x="9" y="34"/>
                    </a:cubicBezTo>
                    <a:cubicBezTo>
                      <a:pt x="10" y="34"/>
                      <a:pt x="11" y="33"/>
                      <a:pt x="12" y="33"/>
                    </a:cubicBezTo>
                    <a:cubicBezTo>
                      <a:pt x="14" y="33"/>
                      <a:pt x="15" y="34"/>
                      <a:pt x="17" y="35"/>
                    </a:cubicBezTo>
                    <a:cubicBezTo>
                      <a:pt x="18" y="36"/>
                      <a:pt x="18" y="37"/>
                      <a:pt x="18" y="38"/>
                    </a:cubicBezTo>
                    <a:cubicBezTo>
                      <a:pt x="18" y="39"/>
                      <a:pt x="18" y="40"/>
                      <a:pt x="20" y="40"/>
                    </a:cubicBezTo>
                    <a:cubicBezTo>
                      <a:pt x="21" y="40"/>
                      <a:pt x="22" y="40"/>
                      <a:pt x="22" y="38"/>
                    </a:cubicBezTo>
                    <a:cubicBezTo>
                      <a:pt x="23" y="37"/>
                      <a:pt x="23" y="35"/>
                      <a:pt x="24" y="35"/>
                    </a:cubicBezTo>
                    <a:cubicBezTo>
                      <a:pt x="27" y="34"/>
                      <a:pt x="29" y="32"/>
                      <a:pt x="32" y="34"/>
                    </a:cubicBezTo>
                    <a:cubicBezTo>
                      <a:pt x="32" y="34"/>
                      <a:pt x="33" y="35"/>
                      <a:pt x="35" y="34"/>
                    </a:cubicBezTo>
                    <a:cubicBezTo>
                      <a:pt x="36" y="32"/>
                      <a:pt x="35" y="31"/>
                      <a:pt x="35" y="30"/>
                    </a:cubicBezTo>
                    <a:cubicBezTo>
                      <a:pt x="32" y="27"/>
                      <a:pt x="34" y="22"/>
                      <a:pt x="37" y="22"/>
                    </a:cubicBezTo>
                    <a:cubicBezTo>
                      <a:pt x="39" y="22"/>
                      <a:pt x="40" y="22"/>
                      <a:pt x="40" y="20"/>
                    </a:cubicBezTo>
                    <a:cubicBezTo>
                      <a:pt x="40" y="17"/>
                      <a:pt x="38" y="18"/>
                      <a:pt x="37" y="17"/>
                    </a:cubicBezTo>
                    <a:close/>
                    <a:moveTo>
                      <a:pt x="21" y="30"/>
                    </a:moveTo>
                    <a:cubicBezTo>
                      <a:pt x="16" y="30"/>
                      <a:pt x="12" y="26"/>
                      <a:pt x="12" y="21"/>
                    </a:cubicBezTo>
                    <a:cubicBezTo>
                      <a:pt x="12" y="16"/>
                      <a:pt x="16" y="12"/>
                      <a:pt x="21" y="12"/>
                    </a:cubicBezTo>
                    <a:cubicBezTo>
                      <a:pt x="26" y="12"/>
                      <a:pt x="30" y="16"/>
                      <a:pt x="30" y="21"/>
                    </a:cubicBezTo>
                    <a:cubicBezTo>
                      <a:pt x="30" y="26"/>
                      <a:pt x="26" y="30"/>
                      <a:pt x="21" y="30"/>
                    </a:cubicBezTo>
                    <a:close/>
                  </a:path>
                </a:pathLst>
              </a:custGeom>
              <a:noFill/>
              <a:ln w="4" cap="rnd">
                <a:solidFill>
                  <a:schemeClr val="accent5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66" name="Freeform 530"/>
              <p:cNvSpPr>
                <a:spLocks noEditPoints="1"/>
              </p:cNvSpPr>
              <p:nvPr/>
            </p:nvSpPr>
            <p:spPr bwMode="auto">
              <a:xfrm>
                <a:off x="2679701" y="5859463"/>
                <a:ext cx="225425" cy="228600"/>
              </a:xfrm>
              <a:custGeom>
                <a:avLst/>
                <a:gdLst>
                  <a:gd name="T0" fmla="*/ 66 w 71"/>
                  <a:gd name="T1" fmla="*/ 31 h 72"/>
                  <a:gd name="T2" fmla="*/ 59 w 71"/>
                  <a:gd name="T3" fmla="*/ 18 h 72"/>
                  <a:gd name="T4" fmla="*/ 60 w 71"/>
                  <a:gd name="T5" fmla="*/ 11 h 72"/>
                  <a:gd name="T6" fmla="*/ 53 w 71"/>
                  <a:gd name="T7" fmla="*/ 12 h 72"/>
                  <a:gd name="T8" fmla="*/ 51 w 71"/>
                  <a:gd name="T9" fmla="*/ 13 h 72"/>
                  <a:gd name="T10" fmla="*/ 39 w 71"/>
                  <a:gd name="T11" fmla="*/ 3 h 72"/>
                  <a:gd name="T12" fmla="*/ 36 w 71"/>
                  <a:gd name="T13" fmla="*/ 1 h 72"/>
                  <a:gd name="T14" fmla="*/ 32 w 71"/>
                  <a:gd name="T15" fmla="*/ 3 h 72"/>
                  <a:gd name="T16" fmla="*/ 30 w 71"/>
                  <a:gd name="T17" fmla="*/ 9 h 72"/>
                  <a:gd name="T18" fmla="*/ 21 w 71"/>
                  <a:gd name="T19" fmla="*/ 13 h 72"/>
                  <a:gd name="T20" fmla="*/ 15 w 71"/>
                  <a:gd name="T21" fmla="*/ 10 h 72"/>
                  <a:gd name="T22" fmla="*/ 10 w 71"/>
                  <a:gd name="T23" fmla="*/ 11 h 72"/>
                  <a:gd name="T24" fmla="*/ 10 w 71"/>
                  <a:gd name="T25" fmla="*/ 16 h 72"/>
                  <a:gd name="T26" fmla="*/ 13 w 71"/>
                  <a:gd name="T27" fmla="*/ 21 h 72"/>
                  <a:gd name="T28" fmla="*/ 9 w 71"/>
                  <a:gd name="T29" fmla="*/ 30 h 72"/>
                  <a:gd name="T30" fmla="*/ 3 w 71"/>
                  <a:gd name="T31" fmla="*/ 32 h 72"/>
                  <a:gd name="T32" fmla="*/ 0 w 71"/>
                  <a:gd name="T33" fmla="*/ 36 h 72"/>
                  <a:gd name="T34" fmla="*/ 3 w 71"/>
                  <a:gd name="T35" fmla="*/ 40 h 72"/>
                  <a:gd name="T36" fmla="*/ 9 w 71"/>
                  <a:gd name="T37" fmla="*/ 42 h 72"/>
                  <a:gd name="T38" fmla="*/ 13 w 71"/>
                  <a:gd name="T39" fmla="*/ 51 h 72"/>
                  <a:gd name="T40" fmla="*/ 10 w 71"/>
                  <a:gd name="T41" fmla="*/ 56 h 72"/>
                  <a:gd name="T42" fmla="*/ 10 w 71"/>
                  <a:gd name="T43" fmla="*/ 62 h 72"/>
                  <a:gd name="T44" fmla="*/ 16 w 71"/>
                  <a:gd name="T45" fmla="*/ 62 h 72"/>
                  <a:gd name="T46" fmla="*/ 21 w 71"/>
                  <a:gd name="T47" fmla="*/ 59 h 72"/>
                  <a:gd name="T48" fmla="*/ 30 w 71"/>
                  <a:gd name="T49" fmla="*/ 63 h 72"/>
                  <a:gd name="T50" fmla="*/ 32 w 71"/>
                  <a:gd name="T51" fmla="*/ 69 h 72"/>
                  <a:gd name="T52" fmla="*/ 35 w 71"/>
                  <a:gd name="T53" fmla="*/ 72 h 72"/>
                  <a:gd name="T54" fmla="*/ 40 w 71"/>
                  <a:gd name="T55" fmla="*/ 69 h 72"/>
                  <a:gd name="T56" fmla="*/ 42 w 71"/>
                  <a:gd name="T57" fmla="*/ 63 h 72"/>
                  <a:gd name="T58" fmla="*/ 56 w 71"/>
                  <a:gd name="T59" fmla="*/ 61 h 72"/>
                  <a:gd name="T60" fmla="*/ 62 w 71"/>
                  <a:gd name="T61" fmla="*/ 61 h 72"/>
                  <a:gd name="T62" fmla="*/ 61 w 71"/>
                  <a:gd name="T63" fmla="*/ 54 h 72"/>
                  <a:gd name="T64" fmla="*/ 65 w 71"/>
                  <a:gd name="T65" fmla="*/ 40 h 72"/>
                  <a:gd name="T66" fmla="*/ 71 w 71"/>
                  <a:gd name="T67" fmla="*/ 36 h 72"/>
                  <a:gd name="T68" fmla="*/ 66 w 71"/>
                  <a:gd name="T69" fmla="*/ 31 h 72"/>
                  <a:gd name="T70" fmla="*/ 36 w 71"/>
                  <a:gd name="T71" fmla="*/ 54 h 72"/>
                  <a:gd name="T72" fmla="*/ 20 w 71"/>
                  <a:gd name="T73" fmla="*/ 37 h 72"/>
                  <a:gd name="T74" fmla="*/ 37 w 71"/>
                  <a:gd name="T75" fmla="*/ 21 h 72"/>
                  <a:gd name="T76" fmla="*/ 53 w 71"/>
                  <a:gd name="T77" fmla="*/ 38 h 72"/>
                  <a:gd name="T78" fmla="*/ 36 w 71"/>
                  <a:gd name="T79" fmla="*/ 54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71" h="72">
                    <a:moveTo>
                      <a:pt x="66" y="31"/>
                    </a:moveTo>
                    <a:cubicBezTo>
                      <a:pt x="61" y="30"/>
                      <a:pt x="57" y="22"/>
                      <a:pt x="59" y="18"/>
                    </a:cubicBezTo>
                    <a:cubicBezTo>
                      <a:pt x="61" y="14"/>
                      <a:pt x="62" y="13"/>
                      <a:pt x="60" y="11"/>
                    </a:cubicBezTo>
                    <a:cubicBezTo>
                      <a:pt x="57" y="8"/>
                      <a:pt x="55" y="11"/>
                      <a:pt x="53" y="12"/>
                    </a:cubicBezTo>
                    <a:cubicBezTo>
                      <a:pt x="52" y="13"/>
                      <a:pt x="51" y="13"/>
                      <a:pt x="51" y="13"/>
                    </a:cubicBezTo>
                    <a:cubicBezTo>
                      <a:pt x="47" y="14"/>
                      <a:pt x="39" y="11"/>
                      <a:pt x="39" y="3"/>
                    </a:cubicBezTo>
                    <a:cubicBezTo>
                      <a:pt x="39" y="1"/>
                      <a:pt x="38" y="0"/>
                      <a:pt x="36" y="1"/>
                    </a:cubicBezTo>
                    <a:cubicBezTo>
                      <a:pt x="34" y="1"/>
                      <a:pt x="33" y="1"/>
                      <a:pt x="32" y="3"/>
                    </a:cubicBezTo>
                    <a:cubicBezTo>
                      <a:pt x="32" y="5"/>
                      <a:pt x="31" y="8"/>
                      <a:pt x="30" y="9"/>
                    </a:cubicBezTo>
                    <a:cubicBezTo>
                      <a:pt x="28" y="11"/>
                      <a:pt x="24" y="13"/>
                      <a:pt x="21" y="13"/>
                    </a:cubicBezTo>
                    <a:cubicBezTo>
                      <a:pt x="19" y="13"/>
                      <a:pt x="17" y="12"/>
                      <a:pt x="15" y="10"/>
                    </a:cubicBezTo>
                    <a:cubicBezTo>
                      <a:pt x="13" y="9"/>
                      <a:pt x="12" y="9"/>
                      <a:pt x="10" y="11"/>
                    </a:cubicBezTo>
                    <a:cubicBezTo>
                      <a:pt x="8" y="13"/>
                      <a:pt x="9" y="14"/>
                      <a:pt x="10" y="16"/>
                    </a:cubicBezTo>
                    <a:cubicBezTo>
                      <a:pt x="11" y="18"/>
                      <a:pt x="13" y="20"/>
                      <a:pt x="13" y="21"/>
                    </a:cubicBezTo>
                    <a:cubicBezTo>
                      <a:pt x="12" y="25"/>
                      <a:pt x="11" y="28"/>
                      <a:pt x="9" y="30"/>
                    </a:cubicBezTo>
                    <a:cubicBezTo>
                      <a:pt x="8" y="32"/>
                      <a:pt x="5" y="32"/>
                      <a:pt x="3" y="32"/>
                    </a:cubicBezTo>
                    <a:cubicBezTo>
                      <a:pt x="1" y="33"/>
                      <a:pt x="0" y="34"/>
                      <a:pt x="0" y="36"/>
                    </a:cubicBezTo>
                    <a:cubicBezTo>
                      <a:pt x="0" y="39"/>
                      <a:pt x="1" y="40"/>
                      <a:pt x="3" y="40"/>
                    </a:cubicBezTo>
                    <a:cubicBezTo>
                      <a:pt x="5" y="40"/>
                      <a:pt x="8" y="41"/>
                      <a:pt x="9" y="42"/>
                    </a:cubicBezTo>
                    <a:cubicBezTo>
                      <a:pt x="11" y="45"/>
                      <a:pt x="12" y="48"/>
                      <a:pt x="13" y="51"/>
                    </a:cubicBezTo>
                    <a:cubicBezTo>
                      <a:pt x="13" y="53"/>
                      <a:pt x="11" y="55"/>
                      <a:pt x="10" y="56"/>
                    </a:cubicBezTo>
                    <a:cubicBezTo>
                      <a:pt x="9" y="58"/>
                      <a:pt x="8" y="60"/>
                      <a:pt x="10" y="62"/>
                    </a:cubicBezTo>
                    <a:cubicBezTo>
                      <a:pt x="12" y="64"/>
                      <a:pt x="14" y="63"/>
                      <a:pt x="16" y="62"/>
                    </a:cubicBezTo>
                    <a:cubicBezTo>
                      <a:pt x="17" y="61"/>
                      <a:pt x="19" y="59"/>
                      <a:pt x="21" y="59"/>
                    </a:cubicBezTo>
                    <a:cubicBezTo>
                      <a:pt x="24" y="60"/>
                      <a:pt x="27" y="61"/>
                      <a:pt x="30" y="63"/>
                    </a:cubicBezTo>
                    <a:cubicBezTo>
                      <a:pt x="31" y="64"/>
                      <a:pt x="31" y="67"/>
                      <a:pt x="32" y="69"/>
                    </a:cubicBezTo>
                    <a:cubicBezTo>
                      <a:pt x="32" y="71"/>
                      <a:pt x="32" y="72"/>
                      <a:pt x="35" y="72"/>
                    </a:cubicBezTo>
                    <a:cubicBezTo>
                      <a:pt x="38" y="72"/>
                      <a:pt x="39" y="72"/>
                      <a:pt x="40" y="69"/>
                    </a:cubicBezTo>
                    <a:cubicBezTo>
                      <a:pt x="40" y="67"/>
                      <a:pt x="41" y="64"/>
                      <a:pt x="42" y="63"/>
                    </a:cubicBezTo>
                    <a:cubicBezTo>
                      <a:pt x="47" y="61"/>
                      <a:pt x="51" y="57"/>
                      <a:pt x="56" y="61"/>
                    </a:cubicBezTo>
                    <a:cubicBezTo>
                      <a:pt x="56" y="62"/>
                      <a:pt x="59" y="64"/>
                      <a:pt x="62" y="61"/>
                    </a:cubicBezTo>
                    <a:cubicBezTo>
                      <a:pt x="64" y="58"/>
                      <a:pt x="63" y="56"/>
                      <a:pt x="61" y="54"/>
                    </a:cubicBezTo>
                    <a:cubicBezTo>
                      <a:pt x="57" y="49"/>
                      <a:pt x="61" y="40"/>
                      <a:pt x="65" y="40"/>
                    </a:cubicBezTo>
                    <a:cubicBezTo>
                      <a:pt x="70" y="40"/>
                      <a:pt x="71" y="39"/>
                      <a:pt x="71" y="36"/>
                    </a:cubicBezTo>
                    <a:cubicBezTo>
                      <a:pt x="71" y="32"/>
                      <a:pt x="67" y="32"/>
                      <a:pt x="66" y="31"/>
                    </a:cubicBezTo>
                    <a:close/>
                    <a:moveTo>
                      <a:pt x="36" y="54"/>
                    </a:moveTo>
                    <a:cubicBezTo>
                      <a:pt x="27" y="54"/>
                      <a:pt x="20" y="46"/>
                      <a:pt x="20" y="37"/>
                    </a:cubicBezTo>
                    <a:cubicBezTo>
                      <a:pt x="20" y="29"/>
                      <a:pt x="28" y="21"/>
                      <a:pt x="37" y="21"/>
                    </a:cubicBezTo>
                    <a:cubicBezTo>
                      <a:pt x="45" y="21"/>
                      <a:pt x="53" y="29"/>
                      <a:pt x="53" y="38"/>
                    </a:cubicBezTo>
                    <a:cubicBezTo>
                      <a:pt x="53" y="47"/>
                      <a:pt x="45" y="54"/>
                      <a:pt x="36" y="54"/>
                    </a:cubicBezTo>
                    <a:close/>
                  </a:path>
                </a:pathLst>
              </a:custGeom>
              <a:noFill/>
              <a:ln w="4" cap="rnd">
                <a:solidFill>
                  <a:schemeClr val="accent5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latin typeface="Arial" pitchFamily="34" charset="0"/>
                  <a:cs typeface="Arial" pitchFamily="34" charset="0"/>
                </a:endParaRPr>
              </a:p>
            </p:txBody>
          </p:sp>
        </p:grpSp>
        <p:grpSp>
          <p:nvGrpSpPr>
            <p:cNvPr id="133" name="Group 42"/>
            <p:cNvGrpSpPr/>
            <p:nvPr/>
          </p:nvGrpSpPr>
          <p:grpSpPr>
            <a:xfrm>
              <a:off x="4425893" y="1727208"/>
              <a:ext cx="290294" cy="271509"/>
              <a:chOff x="2497138" y="5654676"/>
              <a:chExt cx="700088" cy="700088"/>
            </a:xfrm>
          </p:grpSpPr>
          <p:sp>
            <p:nvSpPr>
              <p:cNvPr id="159" name="Freeform 527"/>
              <p:cNvSpPr>
                <a:spLocks noEditPoints="1"/>
              </p:cNvSpPr>
              <p:nvPr/>
            </p:nvSpPr>
            <p:spPr bwMode="auto">
              <a:xfrm>
                <a:off x="2497138" y="5654676"/>
                <a:ext cx="700088" cy="700088"/>
              </a:xfrm>
              <a:custGeom>
                <a:avLst/>
                <a:gdLst>
                  <a:gd name="T0" fmla="*/ 122 w 220"/>
                  <a:gd name="T1" fmla="*/ 220 h 220"/>
                  <a:gd name="T2" fmla="*/ 41 w 220"/>
                  <a:gd name="T3" fmla="*/ 220 h 220"/>
                  <a:gd name="T4" fmla="*/ 0 w 220"/>
                  <a:gd name="T5" fmla="*/ 178 h 220"/>
                  <a:gd name="T6" fmla="*/ 0 w 220"/>
                  <a:gd name="T7" fmla="*/ 41 h 220"/>
                  <a:gd name="T8" fmla="*/ 41 w 220"/>
                  <a:gd name="T9" fmla="*/ 0 h 220"/>
                  <a:gd name="T10" fmla="*/ 179 w 220"/>
                  <a:gd name="T11" fmla="*/ 0 h 220"/>
                  <a:gd name="T12" fmla="*/ 220 w 220"/>
                  <a:gd name="T13" fmla="*/ 41 h 220"/>
                  <a:gd name="T14" fmla="*/ 220 w 220"/>
                  <a:gd name="T15" fmla="*/ 178 h 220"/>
                  <a:gd name="T16" fmla="*/ 179 w 220"/>
                  <a:gd name="T17" fmla="*/ 220 h 220"/>
                  <a:gd name="T18" fmla="*/ 160 w 220"/>
                  <a:gd name="T19" fmla="*/ 220 h 220"/>
                  <a:gd name="T20" fmla="*/ 41 w 220"/>
                  <a:gd name="T21" fmla="*/ 13 h 220"/>
                  <a:gd name="T22" fmla="*/ 27 w 220"/>
                  <a:gd name="T23" fmla="*/ 27 h 220"/>
                  <a:gd name="T24" fmla="*/ 41 w 220"/>
                  <a:gd name="T25" fmla="*/ 41 h 220"/>
                  <a:gd name="T26" fmla="*/ 55 w 220"/>
                  <a:gd name="T27" fmla="*/ 27 h 220"/>
                  <a:gd name="T28" fmla="*/ 41 w 220"/>
                  <a:gd name="T29" fmla="*/ 13 h 220"/>
                  <a:gd name="T30" fmla="*/ 192 w 220"/>
                  <a:gd name="T31" fmla="*/ 55 h 220"/>
                  <a:gd name="T32" fmla="*/ 27 w 220"/>
                  <a:gd name="T33" fmla="*/ 55 h 220"/>
                  <a:gd name="T34" fmla="*/ 27 w 220"/>
                  <a:gd name="T35" fmla="*/ 178 h 220"/>
                  <a:gd name="T36" fmla="*/ 41 w 220"/>
                  <a:gd name="T37" fmla="*/ 192 h 220"/>
                  <a:gd name="T38" fmla="*/ 179 w 220"/>
                  <a:gd name="T39" fmla="*/ 192 h 220"/>
                  <a:gd name="T40" fmla="*/ 192 w 220"/>
                  <a:gd name="T41" fmla="*/ 178 h 220"/>
                  <a:gd name="T42" fmla="*/ 192 w 220"/>
                  <a:gd name="T43" fmla="*/ 55 h 2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220" h="220">
                    <a:moveTo>
                      <a:pt x="122" y="220"/>
                    </a:moveTo>
                    <a:cubicBezTo>
                      <a:pt x="41" y="220"/>
                      <a:pt x="41" y="220"/>
                      <a:pt x="41" y="220"/>
                    </a:cubicBezTo>
                    <a:cubicBezTo>
                      <a:pt x="18" y="220"/>
                      <a:pt x="0" y="201"/>
                      <a:pt x="0" y="178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18"/>
                      <a:pt x="18" y="0"/>
                      <a:pt x="41" y="0"/>
                    </a:cubicBezTo>
                    <a:cubicBezTo>
                      <a:pt x="179" y="0"/>
                      <a:pt x="179" y="0"/>
                      <a:pt x="179" y="0"/>
                    </a:cubicBezTo>
                    <a:cubicBezTo>
                      <a:pt x="201" y="0"/>
                      <a:pt x="220" y="18"/>
                      <a:pt x="220" y="41"/>
                    </a:cubicBezTo>
                    <a:cubicBezTo>
                      <a:pt x="220" y="178"/>
                      <a:pt x="220" y="178"/>
                      <a:pt x="220" y="178"/>
                    </a:cubicBezTo>
                    <a:cubicBezTo>
                      <a:pt x="220" y="201"/>
                      <a:pt x="201" y="220"/>
                      <a:pt x="179" y="220"/>
                    </a:cubicBezTo>
                    <a:cubicBezTo>
                      <a:pt x="160" y="220"/>
                      <a:pt x="160" y="220"/>
                      <a:pt x="160" y="220"/>
                    </a:cubicBezTo>
                    <a:moveTo>
                      <a:pt x="41" y="13"/>
                    </a:moveTo>
                    <a:cubicBezTo>
                      <a:pt x="33" y="13"/>
                      <a:pt x="27" y="19"/>
                      <a:pt x="27" y="27"/>
                    </a:cubicBezTo>
                    <a:cubicBezTo>
                      <a:pt x="27" y="35"/>
                      <a:pt x="33" y="41"/>
                      <a:pt x="41" y="41"/>
                    </a:cubicBezTo>
                    <a:cubicBezTo>
                      <a:pt x="49" y="41"/>
                      <a:pt x="55" y="35"/>
                      <a:pt x="55" y="27"/>
                    </a:cubicBezTo>
                    <a:cubicBezTo>
                      <a:pt x="55" y="19"/>
                      <a:pt x="49" y="13"/>
                      <a:pt x="41" y="13"/>
                    </a:cubicBezTo>
                    <a:close/>
                    <a:moveTo>
                      <a:pt x="192" y="55"/>
                    </a:moveTo>
                    <a:cubicBezTo>
                      <a:pt x="27" y="55"/>
                      <a:pt x="27" y="55"/>
                      <a:pt x="27" y="55"/>
                    </a:cubicBezTo>
                    <a:cubicBezTo>
                      <a:pt x="27" y="178"/>
                      <a:pt x="27" y="178"/>
                      <a:pt x="27" y="178"/>
                    </a:cubicBezTo>
                    <a:cubicBezTo>
                      <a:pt x="27" y="186"/>
                      <a:pt x="33" y="192"/>
                      <a:pt x="41" y="192"/>
                    </a:cubicBezTo>
                    <a:cubicBezTo>
                      <a:pt x="179" y="192"/>
                      <a:pt x="179" y="192"/>
                      <a:pt x="179" y="192"/>
                    </a:cubicBezTo>
                    <a:cubicBezTo>
                      <a:pt x="186" y="192"/>
                      <a:pt x="192" y="186"/>
                      <a:pt x="192" y="178"/>
                    </a:cubicBezTo>
                    <a:lnTo>
                      <a:pt x="192" y="55"/>
                    </a:lnTo>
                    <a:close/>
                  </a:path>
                </a:pathLst>
              </a:custGeom>
              <a:noFill/>
              <a:ln w="8" cap="rnd">
                <a:solidFill>
                  <a:schemeClr val="accent5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60" name="Freeform 528"/>
              <p:cNvSpPr>
                <a:spLocks noEditPoints="1"/>
              </p:cNvSpPr>
              <p:nvPr/>
            </p:nvSpPr>
            <p:spPr bwMode="auto">
              <a:xfrm>
                <a:off x="2921001" y="5875338"/>
                <a:ext cx="127000" cy="127000"/>
              </a:xfrm>
              <a:custGeom>
                <a:avLst/>
                <a:gdLst>
                  <a:gd name="T0" fmla="*/ 36 w 40"/>
                  <a:gd name="T1" fmla="*/ 17 h 40"/>
                  <a:gd name="T2" fmla="*/ 33 w 40"/>
                  <a:gd name="T3" fmla="*/ 10 h 40"/>
                  <a:gd name="T4" fmla="*/ 33 w 40"/>
                  <a:gd name="T5" fmla="*/ 6 h 40"/>
                  <a:gd name="T6" fmla="*/ 29 w 40"/>
                  <a:gd name="T7" fmla="*/ 7 h 40"/>
                  <a:gd name="T8" fmla="*/ 28 w 40"/>
                  <a:gd name="T9" fmla="*/ 7 h 40"/>
                  <a:gd name="T10" fmla="*/ 22 w 40"/>
                  <a:gd name="T11" fmla="*/ 2 h 40"/>
                  <a:gd name="T12" fmla="*/ 20 w 40"/>
                  <a:gd name="T13" fmla="*/ 0 h 40"/>
                  <a:gd name="T14" fmla="*/ 18 w 40"/>
                  <a:gd name="T15" fmla="*/ 1 h 40"/>
                  <a:gd name="T16" fmla="*/ 16 w 40"/>
                  <a:gd name="T17" fmla="*/ 5 h 40"/>
                  <a:gd name="T18" fmla="*/ 11 w 40"/>
                  <a:gd name="T19" fmla="*/ 7 h 40"/>
                  <a:gd name="T20" fmla="*/ 8 w 40"/>
                  <a:gd name="T21" fmla="*/ 6 h 40"/>
                  <a:gd name="T22" fmla="*/ 5 w 40"/>
                  <a:gd name="T23" fmla="*/ 6 h 40"/>
                  <a:gd name="T24" fmla="*/ 5 w 40"/>
                  <a:gd name="T25" fmla="*/ 9 h 40"/>
                  <a:gd name="T26" fmla="*/ 7 w 40"/>
                  <a:gd name="T27" fmla="*/ 12 h 40"/>
                  <a:gd name="T28" fmla="*/ 5 w 40"/>
                  <a:gd name="T29" fmla="*/ 17 h 40"/>
                  <a:gd name="T30" fmla="*/ 1 w 40"/>
                  <a:gd name="T31" fmla="*/ 18 h 40"/>
                  <a:gd name="T32" fmla="*/ 0 w 40"/>
                  <a:gd name="T33" fmla="*/ 20 h 40"/>
                  <a:gd name="T34" fmla="*/ 2 w 40"/>
                  <a:gd name="T35" fmla="*/ 22 h 40"/>
                  <a:gd name="T36" fmla="*/ 5 w 40"/>
                  <a:gd name="T37" fmla="*/ 23 h 40"/>
                  <a:gd name="T38" fmla="*/ 7 w 40"/>
                  <a:gd name="T39" fmla="*/ 28 h 40"/>
                  <a:gd name="T40" fmla="*/ 5 w 40"/>
                  <a:gd name="T41" fmla="*/ 31 h 40"/>
                  <a:gd name="T42" fmla="*/ 6 w 40"/>
                  <a:gd name="T43" fmla="*/ 34 h 40"/>
                  <a:gd name="T44" fmla="*/ 9 w 40"/>
                  <a:gd name="T45" fmla="*/ 34 h 40"/>
                  <a:gd name="T46" fmla="*/ 11 w 40"/>
                  <a:gd name="T47" fmla="*/ 33 h 40"/>
                  <a:gd name="T48" fmla="*/ 16 w 40"/>
                  <a:gd name="T49" fmla="*/ 35 h 40"/>
                  <a:gd name="T50" fmla="*/ 18 w 40"/>
                  <a:gd name="T51" fmla="*/ 38 h 40"/>
                  <a:gd name="T52" fmla="*/ 19 w 40"/>
                  <a:gd name="T53" fmla="*/ 40 h 40"/>
                  <a:gd name="T54" fmla="*/ 22 w 40"/>
                  <a:gd name="T55" fmla="*/ 38 h 40"/>
                  <a:gd name="T56" fmla="*/ 23 w 40"/>
                  <a:gd name="T57" fmla="*/ 35 h 40"/>
                  <a:gd name="T58" fmla="*/ 31 w 40"/>
                  <a:gd name="T59" fmla="*/ 34 h 40"/>
                  <a:gd name="T60" fmla="*/ 34 w 40"/>
                  <a:gd name="T61" fmla="*/ 34 h 40"/>
                  <a:gd name="T62" fmla="*/ 34 w 40"/>
                  <a:gd name="T63" fmla="*/ 30 h 40"/>
                  <a:gd name="T64" fmla="*/ 36 w 40"/>
                  <a:gd name="T65" fmla="*/ 22 h 40"/>
                  <a:gd name="T66" fmla="*/ 40 w 40"/>
                  <a:gd name="T67" fmla="*/ 20 h 40"/>
                  <a:gd name="T68" fmla="*/ 36 w 40"/>
                  <a:gd name="T69" fmla="*/ 17 h 40"/>
                  <a:gd name="T70" fmla="*/ 20 w 40"/>
                  <a:gd name="T71" fmla="*/ 30 h 40"/>
                  <a:gd name="T72" fmla="*/ 11 w 40"/>
                  <a:gd name="T73" fmla="*/ 21 h 40"/>
                  <a:gd name="T74" fmla="*/ 20 w 40"/>
                  <a:gd name="T75" fmla="*/ 12 h 40"/>
                  <a:gd name="T76" fmla="*/ 29 w 40"/>
                  <a:gd name="T77" fmla="*/ 21 h 40"/>
                  <a:gd name="T78" fmla="*/ 20 w 40"/>
                  <a:gd name="T79" fmla="*/ 30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40" h="40">
                    <a:moveTo>
                      <a:pt x="36" y="17"/>
                    </a:moveTo>
                    <a:cubicBezTo>
                      <a:pt x="34" y="16"/>
                      <a:pt x="32" y="12"/>
                      <a:pt x="33" y="10"/>
                    </a:cubicBezTo>
                    <a:cubicBezTo>
                      <a:pt x="34" y="8"/>
                      <a:pt x="35" y="7"/>
                      <a:pt x="33" y="6"/>
                    </a:cubicBezTo>
                    <a:cubicBezTo>
                      <a:pt x="32" y="4"/>
                      <a:pt x="31" y="6"/>
                      <a:pt x="29" y="7"/>
                    </a:cubicBezTo>
                    <a:cubicBezTo>
                      <a:pt x="29" y="7"/>
                      <a:pt x="28" y="7"/>
                      <a:pt x="28" y="7"/>
                    </a:cubicBezTo>
                    <a:cubicBezTo>
                      <a:pt x="26" y="7"/>
                      <a:pt x="22" y="6"/>
                      <a:pt x="22" y="2"/>
                    </a:cubicBezTo>
                    <a:cubicBezTo>
                      <a:pt x="22" y="0"/>
                      <a:pt x="21" y="0"/>
                      <a:pt x="20" y="0"/>
                    </a:cubicBezTo>
                    <a:cubicBezTo>
                      <a:pt x="19" y="0"/>
                      <a:pt x="18" y="0"/>
                      <a:pt x="18" y="1"/>
                    </a:cubicBezTo>
                    <a:cubicBezTo>
                      <a:pt x="18" y="3"/>
                      <a:pt x="17" y="4"/>
                      <a:pt x="16" y="5"/>
                    </a:cubicBezTo>
                    <a:cubicBezTo>
                      <a:pt x="15" y="6"/>
                      <a:pt x="13" y="7"/>
                      <a:pt x="11" y="7"/>
                    </a:cubicBezTo>
                    <a:cubicBezTo>
                      <a:pt x="10" y="7"/>
                      <a:pt x="9" y="6"/>
                      <a:pt x="8" y="6"/>
                    </a:cubicBezTo>
                    <a:cubicBezTo>
                      <a:pt x="7" y="5"/>
                      <a:pt x="6" y="5"/>
                      <a:pt x="5" y="6"/>
                    </a:cubicBezTo>
                    <a:cubicBezTo>
                      <a:pt x="4" y="7"/>
                      <a:pt x="5" y="8"/>
                      <a:pt x="5" y="9"/>
                    </a:cubicBezTo>
                    <a:cubicBezTo>
                      <a:pt x="6" y="10"/>
                      <a:pt x="7" y="11"/>
                      <a:pt x="7" y="12"/>
                    </a:cubicBezTo>
                    <a:cubicBezTo>
                      <a:pt x="7" y="13"/>
                      <a:pt x="6" y="15"/>
                      <a:pt x="5" y="17"/>
                    </a:cubicBezTo>
                    <a:cubicBezTo>
                      <a:pt x="4" y="17"/>
                      <a:pt x="3" y="18"/>
                      <a:pt x="1" y="18"/>
                    </a:cubicBezTo>
                    <a:cubicBezTo>
                      <a:pt x="0" y="18"/>
                      <a:pt x="0" y="19"/>
                      <a:pt x="0" y="20"/>
                    </a:cubicBezTo>
                    <a:cubicBezTo>
                      <a:pt x="0" y="21"/>
                      <a:pt x="0" y="22"/>
                      <a:pt x="2" y="22"/>
                    </a:cubicBezTo>
                    <a:cubicBezTo>
                      <a:pt x="3" y="22"/>
                      <a:pt x="4" y="22"/>
                      <a:pt x="5" y="23"/>
                    </a:cubicBezTo>
                    <a:cubicBezTo>
                      <a:pt x="6" y="25"/>
                      <a:pt x="6" y="26"/>
                      <a:pt x="7" y="28"/>
                    </a:cubicBezTo>
                    <a:cubicBezTo>
                      <a:pt x="7" y="29"/>
                      <a:pt x="6" y="30"/>
                      <a:pt x="5" y="31"/>
                    </a:cubicBezTo>
                    <a:cubicBezTo>
                      <a:pt x="5" y="32"/>
                      <a:pt x="4" y="33"/>
                      <a:pt x="6" y="34"/>
                    </a:cubicBezTo>
                    <a:cubicBezTo>
                      <a:pt x="7" y="35"/>
                      <a:pt x="7" y="35"/>
                      <a:pt x="9" y="34"/>
                    </a:cubicBezTo>
                    <a:cubicBezTo>
                      <a:pt x="9" y="34"/>
                      <a:pt x="11" y="33"/>
                      <a:pt x="11" y="33"/>
                    </a:cubicBezTo>
                    <a:cubicBezTo>
                      <a:pt x="13" y="33"/>
                      <a:pt x="15" y="34"/>
                      <a:pt x="16" y="35"/>
                    </a:cubicBezTo>
                    <a:cubicBezTo>
                      <a:pt x="17" y="36"/>
                      <a:pt x="17" y="37"/>
                      <a:pt x="18" y="38"/>
                    </a:cubicBezTo>
                    <a:cubicBezTo>
                      <a:pt x="18" y="39"/>
                      <a:pt x="18" y="40"/>
                      <a:pt x="19" y="40"/>
                    </a:cubicBezTo>
                    <a:cubicBezTo>
                      <a:pt x="21" y="40"/>
                      <a:pt x="22" y="40"/>
                      <a:pt x="22" y="38"/>
                    </a:cubicBezTo>
                    <a:cubicBezTo>
                      <a:pt x="22" y="37"/>
                      <a:pt x="23" y="35"/>
                      <a:pt x="23" y="35"/>
                    </a:cubicBezTo>
                    <a:cubicBezTo>
                      <a:pt x="26" y="34"/>
                      <a:pt x="29" y="32"/>
                      <a:pt x="31" y="34"/>
                    </a:cubicBezTo>
                    <a:cubicBezTo>
                      <a:pt x="31" y="34"/>
                      <a:pt x="33" y="35"/>
                      <a:pt x="34" y="34"/>
                    </a:cubicBezTo>
                    <a:cubicBezTo>
                      <a:pt x="36" y="32"/>
                      <a:pt x="35" y="31"/>
                      <a:pt x="34" y="30"/>
                    </a:cubicBezTo>
                    <a:cubicBezTo>
                      <a:pt x="32" y="27"/>
                      <a:pt x="34" y="22"/>
                      <a:pt x="36" y="22"/>
                    </a:cubicBezTo>
                    <a:cubicBezTo>
                      <a:pt x="39" y="22"/>
                      <a:pt x="40" y="22"/>
                      <a:pt x="40" y="20"/>
                    </a:cubicBezTo>
                    <a:cubicBezTo>
                      <a:pt x="40" y="17"/>
                      <a:pt x="37" y="18"/>
                      <a:pt x="36" y="17"/>
                    </a:cubicBezTo>
                    <a:close/>
                    <a:moveTo>
                      <a:pt x="20" y="30"/>
                    </a:moveTo>
                    <a:cubicBezTo>
                      <a:pt x="15" y="30"/>
                      <a:pt x="11" y="26"/>
                      <a:pt x="11" y="21"/>
                    </a:cubicBezTo>
                    <a:cubicBezTo>
                      <a:pt x="11" y="16"/>
                      <a:pt x="15" y="12"/>
                      <a:pt x="20" y="12"/>
                    </a:cubicBezTo>
                    <a:cubicBezTo>
                      <a:pt x="25" y="12"/>
                      <a:pt x="29" y="16"/>
                      <a:pt x="29" y="21"/>
                    </a:cubicBezTo>
                    <a:cubicBezTo>
                      <a:pt x="29" y="26"/>
                      <a:pt x="25" y="30"/>
                      <a:pt x="20" y="30"/>
                    </a:cubicBezTo>
                    <a:close/>
                  </a:path>
                </a:pathLst>
              </a:custGeom>
              <a:noFill/>
              <a:ln w="4" cap="rnd">
                <a:solidFill>
                  <a:schemeClr val="accent5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61" name="Freeform 529"/>
              <p:cNvSpPr>
                <a:spLocks noEditPoints="1"/>
              </p:cNvSpPr>
              <p:nvPr/>
            </p:nvSpPr>
            <p:spPr bwMode="auto">
              <a:xfrm>
                <a:off x="2749551" y="6107113"/>
                <a:ext cx="127000" cy="127000"/>
              </a:xfrm>
              <a:custGeom>
                <a:avLst/>
                <a:gdLst>
                  <a:gd name="T0" fmla="*/ 37 w 40"/>
                  <a:gd name="T1" fmla="*/ 17 h 40"/>
                  <a:gd name="T2" fmla="*/ 33 w 40"/>
                  <a:gd name="T3" fmla="*/ 10 h 40"/>
                  <a:gd name="T4" fmla="*/ 34 w 40"/>
                  <a:gd name="T5" fmla="*/ 6 h 40"/>
                  <a:gd name="T6" fmla="*/ 30 w 40"/>
                  <a:gd name="T7" fmla="*/ 7 h 40"/>
                  <a:gd name="T8" fmla="*/ 29 w 40"/>
                  <a:gd name="T9" fmla="*/ 7 h 40"/>
                  <a:gd name="T10" fmla="*/ 22 w 40"/>
                  <a:gd name="T11" fmla="*/ 2 h 40"/>
                  <a:gd name="T12" fmla="*/ 21 w 40"/>
                  <a:gd name="T13" fmla="*/ 0 h 40"/>
                  <a:gd name="T14" fmla="*/ 18 w 40"/>
                  <a:gd name="T15" fmla="*/ 1 h 40"/>
                  <a:gd name="T16" fmla="*/ 17 w 40"/>
                  <a:gd name="T17" fmla="*/ 5 h 40"/>
                  <a:gd name="T18" fmla="*/ 12 w 40"/>
                  <a:gd name="T19" fmla="*/ 7 h 40"/>
                  <a:gd name="T20" fmla="*/ 9 w 40"/>
                  <a:gd name="T21" fmla="*/ 5 h 40"/>
                  <a:gd name="T22" fmla="*/ 6 w 40"/>
                  <a:gd name="T23" fmla="*/ 6 h 40"/>
                  <a:gd name="T24" fmla="*/ 6 w 40"/>
                  <a:gd name="T25" fmla="*/ 9 h 40"/>
                  <a:gd name="T26" fmla="*/ 7 w 40"/>
                  <a:gd name="T27" fmla="*/ 12 h 40"/>
                  <a:gd name="T28" fmla="*/ 5 w 40"/>
                  <a:gd name="T29" fmla="*/ 17 h 40"/>
                  <a:gd name="T30" fmla="*/ 2 w 40"/>
                  <a:gd name="T31" fmla="*/ 18 h 40"/>
                  <a:gd name="T32" fmla="*/ 0 w 40"/>
                  <a:gd name="T33" fmla="*/ 20 h 40"/>
                  <a:gd name="T34" fmla="*/ 2 w 40"/>
                  <a:gd name="T35" fmla="*/ 22 h 40"/>
                  <a:gd name="T36" fmla="*/ 5 w 40"/>
                  <a:gd name="T37" fmla="*/ 23 h 40"/>
                  <a:gd name="T38" fmla="*/ 7 w 40"/>
                  <a:gd name="T39" fmla="*/ 28 h 40"/>
                  <a:gd name="T40" fmla="*/ 6 w 40"/>
                  <a:gd name="T41" fmla="*/ 31 h 40"/>
                  <a:gd name="T42" fmla="*/ 6 w 40"/>
                  <a:gd name="T43" fmla="*/ 34 h 40"/>
                  <a:gd name="T44" fmla="*/ 9 w 40"/>
                  <a:gd name="T45" fmla="*/ 34 h 40"/>
                  <a:gd name="T46" fmla="*/ 12 w 40"/>
                  <a:gd name="T47" fmla="*/ 33 h 40"/>
                  <a:gd name="T48" fmla="*/ 17 w 40"/>
                  <a:gd name="T49" fmla="*/ 35 h 40"/>
                  <a:gd name="T50" fmla="*/ 18 w 40"/>
                  <a:gd name="T51" fmla="*/ 38 h 40"/>
                  <a:gd name="T52" fmla="*/ 20 w 40"/>
                  <a:gd name="T53" fmla="*/ 40 h 40"/>
                  <a:gd name="T54" fmla="*/ 22 w 40"/>
                  <a:gd name="T55" fmla="*/ 38 h 40"/>
                  <a:gd name="T56" fmla="*/ 24 w 40"/>
                  <a:gd name="T57" fmla="*/ 35 h 40"/>
                  <a:gd name="T58" fmla="*/ 32 w 40"/>
                  <a:gd name="T59" fmla="*/ 34 h 40"/>
                  <a:gd name="T60" fmla="*/ 35 w 40"/>
                  <a:gd name="T61" fmla="*/ 34 h 40"/>
                  <a:gd name="T62" fmla="*/ 35 w 40"/>
                  <a:gd name="T63" fmla="*/ 30 h 40"/>
                  <a:gd name="T64" fmla="*/ 37 w 40"/>
                  <a:gd name="T65" fmla="*/ 22 h 40"/>
                  <a:gd name="T66" fmla="*/ 40 w 40"/>
                  <a:gd name="T67" fmla="*/ 20 h 40"/>
                  <a:gd name="T68" fmla="*/ 37 w 40"/>
                  <a:gd name="T69" fmla="*/ 17 h 40"/>
                  <a:gd name="T70" fmla="*/ 21 w 40"/>
                  <a:gd name="T71" fmla="*/ 30 h 40"/>
                  <a:gd name="T72" fmla="*/ 12 w 40"/>
                  <a:gd name="T73" fmla="*/ 21 h 40"/>
                  <a:gd name="T74" fmla="*/ 21 w 40"/>
                  <a:gd name="T75" fmla="*/ 12 h 40"/>
                  <a:gd name="T76" fmla="*/ 30 w 40"/>
                  <a:gd name="T77" fmla="*/ 21 h 40"/>
                  <a:gd name="T78" fmla="*/ 21 w 40"/>
                  <a:gd name="T79" fmla="*/ 30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40" h="40">
                    <a:moveTo>
                      <a:pt x="37" y="17"/>
                    </a:moveTo>
                    <a:cubicBezTo>
                      <a:pt x="34" y="16"/>
                      <a:pt x="32" y="12"/>
                      <a:pt x="33" y="10"/>
                    </a:cubicBezTo>
                    <a:cubicBezTo>
                      <a:pt x="34" y="8"/>
                      <a:pt x="35" y="7"/>
                      <a:pt x="34" y="6"/>
                    </a:cubicBezTo>
                    <a:cubicBezTo>
                      <a:pt x="32" y="4"/>
                      <a:pt x="31" y="6"/>
                      <a:pt x="30" y="7"/>
                    </a:cubicBezTo>
                    <a:cubicBezTo>
                      <a:pt x="30" y="7"/>
                      <a:pt x="29" y="7"/>
                      <a:pt x="29" y="7"/>
                    </a:cubicBezTo>
                    <a:cubicBezTo>
                      <a:pt x="27" y="7"/>
                      <a:pt x="22" y="6"/>
                      <a:pt x="22" y="2"/>
                    </a:cubicBezTo>
                    <a:cubicBezTo>
                      <a:pt x="22" y="0"/>
                      <a:pt x="22" y="0"/>
                      <a:pt x="21" y="0"/>
                    </a:cubicBezTo>
                    <a:cubicBezTo>
                      <a:pt x="19" y="0"/>
                      <a:pt x="19" y="0"/>
                      <a:pt x="18" y="1"/>
                    </a:cubicBezTo>
                    <a:cubicBezTo>
                      <a:pt x="18" y="3"/>
                      <a:pt x="18" y="4"/>
                      <a:pt x="17" y="5"/>
                    </a:cubicBezTo>
                    <a:cubicBezTo>
                      <a:pt x="16" y="6"/>
                      <a:pt x="14" y="7"/>
                      <a:pt x="12" y="7"/>
                    </a:cubicBezTo>
                    <a:cubicBezTo>
                      <a:pt x="11" y="7"/>
                      <a:pt x="10" y="6"/>
                      <a:pt x="9" y="5"/>
                    </a:cubicBezTo>
                    <a:cubicBezTo>
                      <a:pt x="8" y="5"/>
                      <a:pt x="7" y="5"/>
                      <a:pt x="6" y="6"/>
                    </a:cubicBezTo>
                    <a:cubicBezTo>
                      <a:pt x="5" y="7"/>
                      <a:pt x="5" y="8"/>
                      <a:pt x="6" y="9"/>
                    </a:cubicBezTo>
                    <a:cubicBezTo>
                      <a:pt x="6" y="10"/>
                      <a:pt x="7" y="11"/>
                      <a:pt x="7" y="12"/>
                    </a:cubicBezTo>
                    <a:cubicBezTo>
                      <a:pt x="7" y="13"/>
                      <a:pt x="6" y="15"/>
                      <a:pt x="5" y="17"/>
                    </a:cubicBezTo>
                    <a:cubicBezTo>
                      <a:pt x="5" y="17"/>
                      <a:pt x="3" y="18"/>
                      <a:pt x="2" y="18"/>
                    </a:cubicBezTo>
                    <a:cubicBezTo>
                      <a:pt x="1" y="18"/>
                      <a:pt x="0" y="19"/>
                      <a:pt x="0" y="20"/>
                    </a:cubicBezTo>
                    <a:cubicBezTo>
                      <a:pt x="0" y="21"/>
                      <a:pt x="1" y="22"/>
                      <a:pt x="2" y="22"/>
                    </a:cubicBezTo>
                    <a:cubicBezTo>
                      <a:pt x="3" y="22"/>
                      <a:pt x="5" y="22"/>
                      <a:pt x="5" y="23"/>
                    </a:cubicBezTo>
                    <a:cubicBezTo>
                      <a:pt x="6" y="25"/>
                      <a:pt x="7" y="26"/>
                      <a:pt x="7" y="28"/>
                    </a:cubicBezTo>
                    <a:cubicBezTo>
                      <a:pt x="7" y="29"/>
                      <a:pt x="6" y="30"/>
                      <a:pt x="6" y="31"/>
                    </a:cubicBezTo>
                    <a:cubicBezTo>
                      <a:pt x="5" y="32"/>
                      <a:pt x="5" y="33"/>
                      <a:pt x="6" y="34"/>
                    </a:cubicBezTo>
                    <a:cubicBezTo>
                      <a:pt x="7" y="35"/>
                      <a:pt x="8" y="35"/>
                      <a:pt x="9" y="34"/>
                    </a:cubicBezTo>
                    <a:cubicBezTo>
                      <a:pt x="10" y="34"/>
                      <a:pt x="11" y="33"/>
                      <a:pt x="12" y="33"/>
                    </a:cubicBezTo>
                    <a:cubicBezTo>
                      <a:pt x="14" y="33"/>
                      <a:pt x="15" y="34"/>
                      <a:pt x="17" y="35"/>
                    </a:cubicBezTo>
                    <a:cubicBezTo>
                      <a:pt x="18" y="36"/>
                      <a:pt x="18" y="37"/>
                      <a:pt x="18" y="38"/>
                    </a:cubicBezTo>
                    <a:cubicBezTo>
                      <a:pt x="18" y="39"/>
                      <a:pt x="18" y="40"/>
                      <a:pt x="20" y="40"/>
                    </a:cubicBezTo>
                    <a:cubicBezTo>
                      <a:pt x="21" y="40"/>
                      <a:pt x="22" y="40"/>
                      <a:pt x="22" y="38"/>
                    </a:cubicBezTo>
                    <a:cubicBezTo>
                      <a:pt x="23" y="37"/>
                      <a:pt x="23" y="35"/>
                      <a:pt x="24" y="35"/>
                    </a:cubicBezTo>
                    <a:cubicBezTo>
                      <a:pt x="27" y="34"/>
                      <a:pt x="29" y="32"/>
                      <a:pt x="32" y="34"/>
                    </a:cubicBezTo>
                    <a:cubicBezTo>
                      <a:pt x="32" y="34"/>
                      <a:pt x="33" y="35"/>
                      <a:pt x="35" y="34"/>
                    </a:cubicBezTo>
                    <a:cubicBezTo>
                      <a:pt x="36" y="32"/>
                      <a:pt x="35" y="31"/>
                      <a:pt x="35" y="30"/>
                    </a:cubicBezTo>
                    <a:cubicBezTo>
                      <a:pt x="32" y="27"/>
                      <a:pt x="34" y="22"/>
                      <a:pt x="37" y="22"/>
                    </a:cubicBezTo>
                    <a:cubicBezTo>
                      <a:pt x="39" y="22"/>
                      <a:pt x="40" y="22"/>
                      <a:pt x="40" y="20"/>
                    </a:cubicBezTo>
                    <a:cubicBezTo>
                      <a:pt x="40" y="17"/>
                      <a:pt x="38" y="18"/>
                      <a:pt x="37" y="17"/>
                    </a:cubicBezTo>
                    <a:close/>
                    <a:moveTo>
                      <a:pt x="21" y="30"/>
                    </a:moveTo>
                    <a:cubicBezTo>
                      <a:pt x="16" y="30"/>
                      <a:pt x="12" y="26"/>
                      <a:pt x="12" y="21"/>
                    </a:cubicBezTo>
                    <a:cubicBezTo>
                      <a:pt x="12" y="16"/>
                      <a:pt x="16" y="12"/>
                      <a:pt x="21" y="12"/>
                    </a:cubicBezTo>
                    <a:cubicBezTo>
                      <a:pt x="26" y="12"/>
                      <a:pt x="30" y="16"/>
                      <a:pt x="30" y="21"/>
                    </a:cubicBezTo>
                    <a:cubicBezTo>
                      <a:pt x="30" y="26"/>
                      <a:pt x="26" y="30"/>
                      <a:pt x="21" y="30"/>
                    </a:cubicBezTo>
                    <a:close/>
                  </a:path>
                </a:pathLst>
              </a:custGeom>
              <a:noFill/>
              <a:ln w="4" cap="rnd">
                <a:solidFill>
                  <a:schemeClr val="accent5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62" name="Freeform 530"/>
              <p:cNvSpPr>
                <a:spLocks noEditPoints="1"/>
              </p:cNvSpPr>
              <p:nvPr/>
            </p:nvSpPr>
            <p:spPr bwMode="auto">
              <a:xfrm>
                <a:off x="2679701" y="5859463"/>
                <a:ext cx="225425" cy="228600"/>
              </a:xfrm>
              <a:custGeom>
                <a:avLst/>
                <a:gdLst>
                  <a:gd name="T0" fmla="*/ 66 w 71"/>
                  <a:gd name="T1" fmla="*/ 31 h 72"/>
                  <a:gd name="T2" fmla="*/ 59 w 71"/>
                  <a:gd name="T3" fmla="*/ 18 h 72"/>
                  <a:gd name="T4" fmla="*/ 60 w 71"/>
                  <a:gd name="T5" fmla="*/ 11 h 72"/>
                  <a:gd name="T6" fmla="*/ 53 w 71"/>
                  <a:gd name="T7" fmla="*/ 12 h 72"/>
                  <a:gd name="T8" fmla="*/ 51 w 71"/>
                  <a:gd name="T9" fmla="*/ 13 h 72"/>
                  <a:gd name="T10" fmla="*/ 39 w 71"/>
                  <a:gd name="T11" fmla="*/ 3 h 72"/>
                  <a:gd name="T12" fmla="*/ 36 w 71"/>
                  <a:gd name="T13" fmla="*/ 1 h 72"/>
                  <a:gd name="T14" fmla="*/ 32 w 71"/>
                  <a:gd name="T15" fmla="*/ 3 h 72"/>
                  <a:gd name="T16" fmla="*/ 30 w 71"/>
                  <a:gd name="T17" fmla="*/ 9 h 72"/>
                  <a:gd name="T18" fmla="*/ 21 w 71"/>
                  <a:gd name="T19" fmla="*/ 13 h 72"/>
                  <a:gd name="T20" fmla="*/ 15 w 71"/>
                  <a:gd name="T21" fmla="*/ 10 h 72"/>
                  <a:gd name="T22" fmla="*/ 10 w 71"/>
                  <a:gd name="T23" fmla="*/ 11 h 72"/>
                  <a:gd name="T24" fmla="*/ 10 w 71"/>
                  <a:gd name="T25" fmla="*/ 16 h 72"/>
                  <a:gd name="T26" fmla="*/ 13 w 71"/>
                  <a:gd name="T27" fmla="*/ 21 h 72"/>
                  <a:gd name="T28" fmla="*/ 9 w 71"/>
                  <a:gd name="T29" fmla="*/ 30 h 72"/>
                  <a:gd name="T30" fmla="*/ 3 w 71"/>
                  <a:gd name="T31" fmla="*/ 32 h 72"/>
                  <a:gd name="T32" fmla="*/ 0 w 71"/>
                  <a:gd name="T33" fmla="*/ 36 h 72"/>
                  <a:gd name="T34" fmla="*/ 3 w 71"/>
                  <a:gd name="T35" fmla="*/ 40 h 72"/>
                  <a:gd name="T36" fmla="*/ 9 w 71"/>
                  <a:gd name="T37" fmla="*/ 42 h 72"/>
                  <a:gd name="T38" fmla="*/ 13 w 71"/>
                  <a:gd name="T39" fmla="*/ 51 h 72"/>
                  <a:gd name="T40" fmla="*/ 10 w 71"/>
                  <a:gd name="T41" fmla="*/ 56 h 72"/>
                  <a:gd name="T42" fmla="*/ 10 w 71"/>
                  <a:gd name="T43" fmla="*/ 62 h 72"/>
                  <a:gd name="T44" fmla="*/ 16 w 71"/>
                  <a:gd name="T45" fmla="*/ 62 h 72"/>
                  <a:gd name="T46" fmla="*/ 21 w 71"/>
                  <a:gd name="T47" fmla="*/ 59 h 72"/>
                  <a:gd name="T48" fmla="*/ 30 w 71"/>
                  <a:gd name="T49" fmla="*/ 63 h 72"/>
                  <a:gd name="T50" fmla="*/ 32 w 71"/>
                  <a:gd name="T51" fmla="*/ 69 h 72"/>
                  <a:gd name="T52" fmla="*/ 35 w 71"/>
                  <a:gd name="T53" fmla="*/ 72 h 72"/>
                  <a:gd name="T54" fmla="*/ 40 w 71"/>
                  <a:gd name="T55" fmla="*/ 69 h 72"/>
                  <a:gd name="T56" fmla="*/ 42 w 71"/>
                  <a:gd name="T57" fmla="*/ 63 h 72"/>
                  <a:gd name="T58" fmla="*/ 56 w 71"/>
                  <a:gd name="T59" fmla="*/ 61 h 72"/>
                  <a:gd name="T60" fmla="*/ 62 w 71"/>
                  <a:gd name="T61" fmla="*/ 61 h 72"/>
                  <a:gd name="T62" fmla="*/ 61 w 71"/>
                  <a:gd name="T63" fmla="*/ 54 h 72"/>
                  <a:gd name="T64" fmla="*/ 65 w 71"/>
                  <a:gd name="T65" fmla="*/ 40 h 72"/>
                  <a:gd name="T66" fmla="*/ 71 w 71"/>
                  <a:gd name="T67" fmla="*/ 36 h 72"/>
                  <a:gd name="T68" fmla="*/ 66 w 71"/>
                  <a:gd name="T69" fmla="*/ 31 h 72"/>
                  <a:gd name="T70" fmla="*/ 36 w 71"/>
                  <a:gd name="T71" fmla="*/ 54 h 72"/>
                  <a:gd name="T72" fmla="*/ 20 w 71"/>
                  <a:gd name="T73" fmla="*/ 37 h 72"/>
                  <a:gd name="T74" fmla="*/ 37 w 71"/>
                  <a:gd name="T75" fmla="*/ 21 h 72"/>
                  <a:gd name="T76" fmla="*/ 53 w 71"/>
                  <a:gd name="T77" fmla="*/ 38 h 72"/>
                  <a:gd name="T78" fmla="*/ 36 w 71"/>
                  <a:gd name="T79" fmla="*/ 54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71" h="72">
                    <a:moveTo>
                      <a:pt x="66" y="31"/>
                    </a:moveTo>
                    <a:cubicBezTo>
                      <a:pt x="61" y="30"/>
                      <a:pt x="57" y="22"/>
                      <a:pt x="59" y="18"/>
                    </a:cubicBezTo>
                    <a:cubicBezTo>
                      <a:pt x="61" y="14"/>
                      <a:pt x="62" y="13"/>
                      <a:pt x="60" y="11"/>
                    </a:cubicBezTo>
                    <a:cubicBezTo>
                      <a:pt x="57" y="8"/>
                      <a:pt x="55" y="11"/>
                      <a:pt x="53" y="12"/>
                    </a:cubicBezTo>
                    <a:cubicBezTo>
                      <a:pt x="52" y="13"/>
                      <a:pt x="51" y="13"/>
                      <a:pt x="51" y="13"/>
                    </a:cubicBezTo>
                    <a:cubicBezTo>
                      <a:pt x="47" y="14"/>
                      <a:pt x="39" y="11"/>
                      <a:pt x="39" y="3"/>
                    </a:cubicBezTo>
                    <a:cubicBezTo>
                      <a:pt x="39" y="1"/>
                      <a:pt x="38" y="0"/>
                      <a:pt x="36" y="1"/>
                    </a:cubicBezTo>
                    <a:cubicBezTo>
                      <a:pt x="34" y="1"/>
                      <a:pt x="33" y="1"/>
                      <a:pt x="32" y="3"/>
                    </a:cubicBezTo>
                    <a:cubicBezTo>
                      <a:pt x="32" y="5"/>
                      <a:pt x="31" y="8"/>
                      <a:pt x="30" y="9"/>
                    </a:cubicBezTo>
                    <a:cubicBezTo>
                      <a:pt x="28" y="11"/>
                      <a:pt x="24" y="13"/>
                      <a:pt x="21" y="13"/>
                    </a:cubicBezTo>
                    <a:cubicBezTo>
                      <a:pt x="19" y="13"/>
                      <a:pt x="17" y="12"/>
                      <a:pt x="15" y="10"/>
                    </a:cubicBezTo>
                    <a:cubicBezTo>
                      <a:pt x="13" y="9"/>
                      <a:pt x="12" y="9"/>
                      <a:pt x="10" y="11"/>
                    </a:cubicBezTo>
                    <a:cubicBezTo>
                      <a:pt x="8" y="13"/>
                      <a:pt x="9" y="14"/>
                      <a:pt x="10" y="16"/>
                    </a:cubicBezTo>
                    <a:cubicBezTo>
                      <a:pt x="11" y="18"/>
                      <a:pt x="13" y="20"/>
                      <a:pt x="13" y="21"/>
                    </a:cubicBezTo>
                    <a:cubicBezTo>
                      <a:pt x="12" y="25"/>
                      <a:pt x="11" y="28"/>
                      <a:pt x="9" y="30"/>
                    </a:cubicBezTo>
                    <a:cubicBezTo>
                      <a:pt x="8" y="32"/>
                      <a:pt x="5" y="32"/>
                      <a:pt x="3" y="32"/>
                    </a:cubicBezTo>
                    <a:cubicBezTo>
                      <a:pt x="1" y="33"/>
                      <a:pt x="0" y="34"/>
                      <a:pt x="0" y="36"/>
                    </a:cubicBezTo>
                    <a:cubicBezTo>
                      <a:pt x="0" y="39"/>
                      <a:pt x="1" y="40"/>
                      <a:pt x="3" y="40"/>
                    </a:cubicBezTo>
                    <a:cubicBezTo>
                      <a:pt x="5" y="40"/>
                      <a:pt x="8" y="41"/>
                      <a:pt x="9" y="42"/>
                    </a:cubicBezTo>
                    <a:cubicBezTo>
                      <a:pt x="11" y="45"/>
                      <a:pt x="12" y="48"/>
                      <a:pt x="13" y="51"/>
                    </a:cubicBezTo>
                    <a:cubicBezTo>
                      <a:pt x="13" y="53"/>
                      <a:pt x="11" y="55"/>
                      <a:pt x="10" y="56"/>
                    </a:cubicBezTo>
                    <a:cubicBezTo>
                      <a:pt x="9" y="58"/>
                      <a:pt x="8" y="60"/>
                      <a:pt x="10" y="62"/>
                    </a:cubicBezTo>
                    <a:cubicBezTo>
                      <a:pt x="12" y="64"/>
                      <a:pt x="14" y="63"/>
                      <a:pt x="16" y="62"/>
                    </a:cubicBezTo>
                    <a:cubicBezTo>
                      <a:pt x="17" y="61"/>
                      <a:pt x="19" y="59"/>
                      <a:pt x="21" y="59"/>
                    </a:cubicBezTo>
                    <a:cubicBezTo>
                      <a:pt x="24" y="60"/>
                      <a:pt x="27" y="61"/>
                      <a:pt x="30" y="63"/>
                    </a:cubicBezTo>
                    <a:cubicBezTo>
                      <a:pt x="31" y="64"/>
                      <a:pt x="31" y="67"/>
                      <a:pt x="32" y="69"/>
                    </a:cubicBezTo>
                    <a:cubicBezTo>
                      <a:pt x="32" y="71"/>
                      <a:pt x="32" y="72"/>
                      <a:pt x="35" y="72"/>
                    </a:cubicBezTo>
                    <a:cubicBezTo>
                      <a:pt x="38" y="72"/>
                      <a:pt x="39" y="72"/>
                      <a:pt x="40" y="69"/>
                    </a:cubicBezTo>
                    <a:cubicBezTo>
                      <a:pt x="40" y="67"/>
                      <a:pt x="41" y="64"/>
                      <a:pt x="42" y="63"/>
                    </a:cubicBezTo>
                    <a:cubicBezTo>
                      <a:pt x="47" y="61"/>
                      <a:pt x="51" y="57"/>
                      <a:pt x="56" y="61"/>
                    </a:cubicBezTo>
                    <a:cubicBezTo>
                      <a:pt x="56" y="62"/>
                      <a:pt x="59" y="64"/>
                      <a:pt x="62" y="61"/>
                    </a:cubicBezTo>
                    <a:cubicBezTo>
                      <a:pt x="64" y="58"/>
                      <a:pt x="63" y="56"/>
                      <a:pt x="61" y="54"/>
                    </a:cubicBezTo>
                    <a:cubicBezTo>
                      <a:pt x="57" y="49"/>
                      <a:pt x="61" y="40"/>
                      <a:pt x="65" y="40"/>
                    </a:cubicBezTo>
                    <a:cubicBezTo>
                      <a:pt x="70" y="40"/>
                      <a:pt x="71" y="39"/>
                      <a:pt x="71" y="36"/>
                    </a:cubicBezTo>
                    <a:cubicBezTo>
                      <a:pt x="71" y="32"/>
                      <a:pt x="67" y="32"/>
                      <a:pt x="66" y="31"/>
                    </a:cubicBezTo>
                    <a:close/>
                    <a:moveTo>
                      <a:pt x="36" y="54"/>
                    </a:moveTo>
                    <a:cubicBezTo>
                      <a:pt x="27" y="54"/>
                      <a:pt x="20" y="46"/>
                      <a:pt x="20" y="37"/>
                    </a:cubicBezTo>
                    <a:cubicBezTo>
                      <a:pt x="20" y="29"/>
                      <a:pt x="28" y="21"/>
                      <a:pt x="37" y="21"/>
                    </a:cubicBezTo>
                    <a:cubicBezTo>
                      <a:pt x="45" y="21"/>
                      <a:pt x="53" y="29"/>
                      <a:pt x="53" y="38"/>
                    </a:cubicBezTo>
                    <a:cubicBezTo>
                      <a:pt x="53" y="47"/>
                      <a:pt x="45" y="54"/>
                      <a:pt x="36" y="54"/>
                    </a:cubicBezTo>
                    <a:close/>
                  </a:path>
                </a:pathLst>
              </a:custGeom>
              <a:noFill/>
              <a:ln w="4" cap="rnd">
                <a:solidFill>
                  <a:schemeClr val="accent5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latin typeface="Arial" pitchFamily="34" charset="0"/>
                  <a:cs typeface="Arial" pitchFamily="34" charset="0"/>
                </a:endParaRPr>
              </a:p>
            </p:txBody>
          </p:sp>
        </p:grpSp>
        <p:grpSp>
          <p:nvGrpSpPr>
            <p:cNvPr id="134" name="Group 43"/>
            <p:cNvGrpSpPr/>
            <p:nvPr/>
          </p:nvGrpSpPr>
          <p:grpSpPr>
            <a:xfrm>
              <a:off x="4762090" y="1727208"/>
              <a:ext cx="290294" cy="271509"/>
              <a:chOff x="2497138" y="5654676"/>
              <a:chExt cx="700088" cy="700088"/>
            </a:xfrm>
          </p:grpSpPr>
          <p:sp>
            <p:nvSpPr>
              <p:cNvPr id="155" name="Freeform 527"/>
              <p:cNvSpPr>
                <a:spLocks noEditPoints="1"/>
              </p:cNvSpPr>
              <p:nvPr/>
            </p:nvSpPr>
            <p:spPr bwMode="auto">
              <a:xfrm>
                <a:off x="2497138" y="5654676"/>
                <a:ext cx="700088" cy="700088"/>
              </a:xfrm>
              <a:custGeom>
                <a:avLst/>
                <a:gdLst>
                  <a:gd name="T0" fmla="*/ 122 w 220"/>
                  <a:gd name="T1" fmla="*/ 220 h 220"/>
                  <a:gd name="T2" fmla="*/ 41 w 220"/>
                  <a:gd name="T3" fmla="*/ 220 h 220"/>
                  <a:gd name="T4" fmla="*/ 0 w 220"/>
                  <a:gd name="T5" fmla="*/ 178 h 220"/>
                  <a:gd name="T6" fmla="*/ 0 w 220"/>
                  <a:gd name="T7" fmla="*/ 41 h 220"/>
                  <a:gd name="T8" fmla="*/ 41 w 220"/>
                  <a:gd name="T9" fmla="*/ 0 h 220"/>
                  <a:gd name="T10" fmla="*/ 179 w 220"/>
                  <a:gd name="T11" fmla="*/ 0 h 220"/>
                  <a:gd name="T12" fmla="*/ 220 w 220"/>
                  <a:gd name="T13" fmla="*/ 41 h 220"/>
                  <a:gd name="T14" fmla="*/ 220 w 220"/>
                  <a:gd name="T15" fmla="*/ 178 h 220"/>
                  <a:gd name="T16" fmla="*/ 179 w 220"/>
                  <a:gd name="T17" fmla="*/ 220 h 220"/>
                  <a:gd name="T18" fmla="*/ 160 w 220"/>
                  <a:gd name="T19" fmla="*/ 220 h 220"/>
                  <a:gd name="T20" fmla="*/ 41 w 220"/>
                  <a:gd name="T21" fmla="*/ 13 h 220"/>
                  <a:gd name="T22" fmla="*/ 27 w 220"/>
                  <a:gd name="T23" fmla="*/ 27 h 220"/>
                  <a:gd name="T24" fmla="*/ 41 w 220"/>
                  <a:gd name="T25" fmla="*/ 41 h 220"/>
                  <a:gd name="T26" fmla="*/ 55 w 220"/>
                  <a:gd name="T27" fmla="*/ 27 h 220"/>
                  <a:gd name="T28" fmla="*/ 41 w 220"/>
                  <a:gd name="T29" fmla="*/ 13 h 220"/>
                  <a:gd name="T30" fmla="*/ 192 w 220"/>
                  <a:gd name="T31" fmla="*/ 55 h 220"/>
                  <a:gd name="T32" fmla="*/ 27 w 220"/>
                  <a:gd name="T33" fmla="*/ 55 h 220"/>
                  <a:gd name="T34" fmla="*/ 27 w 220"/>
                  <a:gd name="T35" fmla="*/ 178 h 220"/>
                  <a:gd name="T36" fmla="*/ 41 w 220"/>
                  <a:gd name="T37" fmla="*/ 192 h 220"/>
                  <a:gd name="T38" fmla="*/ 179 w 220"/>
                  <a:gd name="T39" fmla="*/ 192 h 220"/>
                  <a:gd name="T40" fmla="*/ 192 w 220"/>
                  <a:gd name="T41" fmla="*/ 178 h 220"/>
                  <a:gd name="T42" fmla="*/ 192 w 220"/>
                  <a:gd name="T43" fmla="*/ 55 h 2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220" h="220">
                    <a:moveTo>
                      <a:pt x="122" y="220"/>
                    </a:moveTo>
                    <a:cubicBezTo>
                      <a:pt x="41" y="220"/>
                      <a:pt x="41" y="220"/>
                      <a:pt x="41" y="220"/>
                    </a:cubicBezTo>
                    <a:cubicBezTo>
                      <a:pt x="18" y="220"/>
                      <a:pt x="0" y="201"/>
                      <a:pt x="0" y="178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18"/>
                      <a:pt x="18" y="0"/>
                      <a:pt x="41" y="0"/>
                    </a:cubicBezTo>
                    <a:cubicBezTo>
                      <a:pt x="179" y="0"/>
                      <a:pt x="179" y="0"/>
                      <a:pt x="179" y="0"/>
                    </a:cubicBezTo>
                    <a:cubicBezTo>
                      <a:pt x="201" y="0"/>
                      <a:pt x="220" y="18"/>
                      <a:pt x="220" y="41"/>
                    </a:cubicBezTo>
                    <a:cubicBezTo>
                      <a:pt x="220" y="178"/>
                      <a:pt x="220" y="178"/>
                      <a:pt x="220" y="178"/>
                    </a:cubicBezTo>
                    <a:cubicBezTo>
                      <a:pt x="220" y="201"/>
                      <a:pt x="201" y="220"/>
                      <a:pt x="179" y="220"/>
                    </a:cubicBezTo>
                    <a:cubicBezTo>
                      <a:pt x="160" y="220"/>
                      <a:pt x="160" y="220"/>
                      <a:pt x="160" y="220"/>
                    </a:cubicBezTo>
                    <a:moveTo>
                      <a:pt x="41" y="13"/>
                    </a:moveTo>
                    <a:cubicBezTo>
                      <a:pt x="33" y="13"/>
                      <a:pt x="27" y="19"/>
                      <a:pt x="27" y="27"/>
                    </a:cubicBezTo>
                    <a:cubicBezTo>
                      <a:pt x="27" y="35"/>
                      <a:pt x="33" y="41"/>
                      <a:pt x="41" y="41"/>
                    </a:cubicBezTo>
                    <a:cubicBezTo>
                      <a:pt x="49" y="41"/>
                      <a:pt x="55" y="35"/>
                      <a:pt x="55" y="27"/>
                    </a:cubicBezTo>
                    <a:cubicBezTo>
                      <a:pt x="55" y="19"/>
                      <a:pt x="49" y="13"/>
                      <a:pt x="41" y="13"/>
                    </a:cubicBezTo>
                    <a:close/>
                    <a:moveTo>
                      <a:pt x="192" y="55"/>
                    </a:moveTo>
                    <a:cubicBezTo>
                      <a:pt x="27" y="55"/>
                      <a:pt x="27" y="55"/>
                      <a:pt x="27" y="55"/>
                    </a:cubicBezTo>
                    <a:cubicBezTo>
                      <a:pt x="27" y="178"/>
                      <a:pt x="27" y="178"/>
                      <a:pt x="27" y="178"/>
                    </a:cubicBezTo>
                    <a:cubicBezTo>
                      <a:pt x="27" y="186"/>
                      <a:pt x="33" y="192"/>
                      <a:pt x="41" y="192"/>
                    </a:cubicBezTo>
                    <a:cubicBezTo>
                      <a:pt x="179" y="192"/>
                      <a:pt x="179" y="192"/>
                      <a:pt x="179" y="192"/>
                    </a:cubicBezTo>
                    <a:cubicBezTo>
                      <a:pt x="186" y="192"/>
                      <a:pt x="192" y="186"/>
                      <a:pt x="192" y="178"/>
                    </a:cubicBezTo>
                    <a:lnTo>
                      <a:pt x="192" y="55"/>
                    </a:lnTo>
                    <a:close/>
                  </a:path>
                </a:pathLst>
              </a:custGeom>
              <a:noFill/>
              <a:ln w="8" cap="rnd">
                <a:solidFill>
                  <a:schemeClr val="accent5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56" name="Freeform 528"/>
              <p:cNvSpPr>
                <a:spLocks noEditPoints="1"/>
              </p:cNvSpPr>
              <p:nvPr/>
            </p:nvSpPr>
            <p:spPr bwMode="auto">
              <a:xfrm>
                <a:off x="2921001" y="5875338"/>
                <a:ext cx="127000" cy="127000"/>
              </a:xfrm>
              <a:custGeom>
                <a:avLst/>
                <a:gdLst>
                  <a:gd name="T0" fmla="*/ 36 w 40"/>
                  <a:gd name="T1" fmla="*/ 17 h 40"/>
                  <a:gd name="T2" fmla="*/ 33 w 40"/>
                  <a:gd name="T3" fmla="*/ 10 h 40"/>
                  <a:gd name="T4" fmla="*/ 33 w 40"/>
                  <a:gd name="T5" fmla="*/ 6 h 40"/>
                  <a:gd name="T6" fmla="*/ 29 w 40"/>
                  <a:gd name="T7" fmla="*/ 7 h 40"/>
                  <a:gd name="T8" fmla="*/ 28 w 40"/>
                  <a:gd name="T9" fmla="*/ 7 h 40"/>
                  <a:gd name="T10" fmla="*/ 22 w 40"/>
                  <a:gd name="T11" fmla="*/ 2 h 40"/>
                  <a:gd name="T12" fmla="*/ 20 w 40"/>
                  <a:gd name="T13" fmla="*/ 0 h 40"/>
                  <a:gd name="T14" fmla="*/ 18 w 40"/>
                  <a:gd name="T15" fmla="*/ 1 h 40"/>
                  <a:gd name="T16" fmla="*/ 16 w 40"/>
                  <a:gd name="T17" fmla="*/ 5 h 40"/>
                  <a:gd name="T18" fmla="*/ 11 w 40"/>
                  <a:gd name="T19" fmla="*/ 7 h 40"/>
                  <a:gd name="T20" fmla="*/ 8 w 40"/>
                  <a:gd name="T21" fmla="*/ 6 h 40"/>
                  <a:gd name="T22" fmla="*/ 5 w 40"/>
                  <a:gd name="T23" fmla="*/ 6 h 40"/>
                  <a:gd name="T24" fmla="*/ 5 w 40"/>
                  <a:gd name="T25" fmla="*/ 9 h 40"/>
                  <a:gd name="T26" fmla="*/ 7 w 40"/>
                  <a:gd name="T27" fmla="*/ 12 h 40"/>
                  <a:gd name="T28" fmla="*/ 5 w 40"/>
                  <a:gd name="T29" fmla="*/ 17 h 40"/>
                  <a:gd name="T30" fmla="*/ 1 w 40"/>
                  <a:gd name="T31" fmla="*/ 18 h 40"/>
                  <a:gd name="T32" fmla="*/ 0 w 40"/>
                  <a:gd name="T33" fmla="*/ 20 h 40"/>
                  <a:gd name="T34" fmla="*/ 2 w 40"/>
                  <a:gd name="T35" fmla="*/ 22 h 40"/>
                  <a:gd name="T36" fmla="*/ 5 w 40"/>
                  <a:gd name="T37" fmla="*/ 23 h 40"/>
                  <a:gd name="T38" fmla="*/ 7 w 40"/>
                  <a:gd name="T39" fmla="*/ 28 h 40"/>
                  <a:gd name="T40" fmla="*/ 5 w 40"/>
                  <a:gd name="T41" fmla="*/ 31 h 40"/>
                  <a:gd name="T42" fmla="*/ 6 w 40"/>
                  <a:gd name="T43" fmla="*/ 34 h 40"/>
                  <a:gd name="T44" fmla="*/ 9 w 40"/>
                  <a:gd name="T45" fmla="*/ 34 h 40"/>
                  <a:gd name="T46" fmla="*/ 11 w 40"/>
                  <a:gd name="T47" fmla="*/ 33 h 40"/>
                  <a:gd name="T48" fmla="*/ 16 w 40"/>
                  <a:gd name="T49" fmla="*/ 35 h 40"/>
                  <a:gd name="T50" fmla="*/ 18 w 40"/>
                  <a:gd name="T51" fmla="*/ 38 h 40"/>
                  <a:gd name="T52" fmla="*/ 19 w 40"/>
                  <a:gd name="T53" fmla="*/ 40 h 40"/>
                  <a:gd name="T54" fmla="*/ 22 w 40"/>
                  <a:gd name="T55" fmla="*/ 38 h 40"/>
                  <a:gd name="T56" fmla="*/ 23 w 40"/>
                  <a:gd name="T57" fmla="*/ 35 h 40"/>
                  <a:gd name="T58" fmla="*/ 31 w 40"/>
                  <a:gd name="T59" fmla="*/ 34 h 40"/>
                  <a:gd name="T60" fmla="*/ 34 w 40"/>
                  <a:gd name="T61" fmla="*/ 34 h 40"/>
                  <a:gd name="T62" fmla="*/ 34 w 40"/>
                  <a:gd name="T63" fmla="*/ 30 h 40"/>
                  <a:gd name="T64" fmla="*/ 36 w 40"/>
                  <a:gd name="T65" fmla="*/ 22 h 40"/>
                  <a:gd name="T66" fmla="*/ 40 w 40"/>
                  <a:gd name="T67" fmla="*/ 20 h 40"/>
                  <a:gd name="T68" fmla="*/ 36 w 40"/>
                  <a:gd name="T69" fmla="*/ 17 h 40"/>
                  <a:gd name="T70" fmla="*/ 20 w 40"/>
                  <a:gd name="T71" fmla="*/ 30 h 40"/>
                  <a:gd name="T72" fmla="*/ 11 w 40"/>
                  <a:gd name="T73" fmla="*/ 21 h 40"/>
                  <a:gd name="T74" fmla="*/ 20 w 40"/>
                  <a:gd name="T75" fmla="*/ 12 h 40"/>
                  <a:gd name="T76" fmla="*/ 29 w 40"/>
                  <a:gd name="T77" fmla="*/ 21 h 40"/>
                  <a:gd name="T78" fmla="*/ 20 w 40"/>
                  <a:gd name="T79" fmla="*/ 30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40" h="40">
                    <a:moveTo>
                      <a:pt x="36" y="17"/>
                    </a:moveTo>
                    <a:cubicBezTo>
                      <a:pt x="34" y="16"/>
                      <a:pt x="32" y="12"/>
                      <a:pt x="33" y="10"/>
                    </a:cubicBezTo>
                    <a:cubicBezTo>
                      <a:pt x="34" y="8"/>
                      <a:pt x="35" y="7"/>
                      <a:pt x="33" y="6"/>
                    </a:cubicBezTo>
                    <a:cubicBezTo>
                      <a:pt x="32" y="4"/>
                      <a:pt x="31" y="6"/>
                      <a:pt x="29" y="7"/>
                    </a:cubicBezTo>
                    <a:cubicBezTo>
                      <a:pt x="29" y="7"/>
                      <a:pt x="28" y="7"/>
                      <a:pt x="28" y="7"/>
                    </a:cubicBezTo>
                    <a:cubicBezTo>
                      <a:pt x="26" y="7"/>
                      <a:pt x="22" y="6"/>
                      <a:pt x="22" y="2"/>
                    </a:cubicBezTo>
                    <a:cubicBezTo>
                      <a:pt x="22" y="0"/>
                      <a:pt x="21" y="0"/>
                      <a:pt x="20" y="0"/>
                    </a:cubicBezTo>
                    <a:cubicBezTo>
                      <a:pt x="19" y="0"/>
                      <a:pt x="18" y="0"/>
                      <a:pt x="18" y="1"/>
                    </a:cubicBezTo>
                    <a:cubicBezTo>
                      <a:pt x="18" y="3"/>
                      <a:pt x="17" y="4"/>
                      <a:pt x="16" y="5"/>
                    </a:cubicBezTo>
                    <a:cubicBezTo>
                      <a:pt x="15" y="6"/>
                      <a:pt x="13" y="7"/>
                      <a:pt x="11" y="7"/>
                    </a:cubicBezTo>
                    <a:cubicBezTo>
                      <a:pt x="10" y="7"/>
                      <a:pt x="9" y="6"/>
                      <a:pt x="8" y="6"/>
                    </a:cubicBezTo>
                    <a:cubicBezTo>
                      <a:pt x="7" y="5"/>
                      <a:pt x="6" y="5"/>
                      <a:pt x="5" y="6"/>
                    </a:cubicBezTo>
                    <a:cubicBezTo>
                      <a:pt x="4" y="7"/>
                      <a:pt x="5" y="8"/>
                      <a:pt x="5" y="9"/>
                    </a:cubicBezTo>
                    <a:cubicBezTo>
                      <a:pt x="6" y="10"/>
                      <a:pt x="7" y="11"/>
                      <a:pt x="7" y="12"/>
                    </a:cubicBezTo>
                    <a:cubicBezTo>
                      <a:pt x="7" y="13"/>
                      <a:pt x="6" y="15"/>
                      <a:pt x="5" y="17"/>
                    </a:cubicBezTo>
                    <a:cubicBezTo>
                      <a:pt x="4" y="17"/>
                      <a:pt x="3" y="18"/>
                      <a:pt x="1" y="18"/>
                    </a:cubicBezTo>
                    <a:cubicBezTo>
                      <a:pt x="0" y="18"/>
                      <a:pt x="0" y="19"/>
                      <a:pt x="0" y="20"/>
                    </a:cubicBezTo>
                    <a:cubicBezTo>
                      <a:pt x="0" y="21"/>
                      <a:pt x="0" y="22"/>
                      <a:pt x="2" y="22"/>
                    </a:cubicBezTo>
                    <a:cubicBezTo>
                      <a:pt x="3" y="22"/>
                      <a:pt x="4" y="22"/>
                      <a:pt x="5" y="23"/>
                    </a:cubicBezTo>
                    <a:cubicBezTo>
                      <a:pt x="6" y="25"/>
                      <a:pt x="6" y="26"/>
                      <a:pt x="7" y="28"/>
                    </a:cubicBezTo>
                    <a:cubicBezTo>
                      <a:pt x="7" y="29"/>
                      <a:pt x="6" y="30"/>
                      <a:pt x="5" y="31"/>
                    </a:cubicBezTo>
                    <a:cubicBezTo>
                      <a:pt x="5" y="32"/>
                      <a:pt x="4" y="33"/>
                      <a:pt x="6" y="34"/>
                    </a:cubicBezTo>
                    <a:cubicBezTo>
                      <a:pt x="7" y="35"/>
                      <a:pt x="7" y="35"/>
                      <a:pt x="9" y="34"/>
                    </a:cubicBezTo>
                    <a:cubicBezTo>
                      <a:pt x="9" y="34"/>
                      <a:pt x="11" y="33"/>
                      <a:pt x="11" y="33"/>
                    </a:cubicBezTo>
                    <a:cubicBezTo>
                      <a:pt x="13" y="33"/>
                      <a:pt x="15" y="34"/>
                      <a:pt x="16" y="35"/>
                    </a:cubicBezTo>
                    <a:cubicBezTo>
                      <a:pt x="17" y="36"/>
                      <a:pt x="17" y="37"/>
                      <a:pt x="18" y="38"/>
                    </a:cubicBezTo>
                    <a:cubicBezTo>
                      <a:pt x="18" y="39"/>
                      <a:pt x="18" y="40"/>
                      <a:pt x="19" y="40"/>
                    </a:cubicBezTo>
                    <a:cubicBezTo>
                      <a:pt x="21" y="40"/>
                      <a:pt x="22" y="40"/>
                      <a:pt x="22" y="38"/>
                    </a:cubicBezTo>
                    <a:cubicBezTo>
                      <a:pt x="22" y="37"/>
                      <a:pt x="23" y="35"/>
                      <a:pt x="23" y="35"/>
                    </a:cubicBezTo>
                    <a:cubicBezTo>
                      <a:pt x="26" y="34"/>
                      <a:pt x="29" y="32"/>
                      <a:pt x="31" y="34"/>
                    </a:cubicBezTo>
                    <a:cubicBezTo>
                      <a:pt x="31" y="34"/>
                      <a:pt x="33" y="35"/>
                      <a:pt x="34" y="34"/>
                    </a:cubicBezTo>
                    <a:cubicBezTo>
                      <a:pt x="36" y="32"/>
                      <a:pt x="35" y="31"/>
                      <a:pt x="34" y="30"/>
                    </a:cubicBezTo>
                    <a:cubicBezTo>
                      <a:pt x="32" y="27"/>
                      <a:pt x="34" y="22"/>
                      <a:pt x="36" y="22"/>
                    </a:cubicBezTo>
                    <a:cubicBezTo>
                      <a:pt x="39" y="22"/>
                      <a:pt x="40" y="22"/>
                      <a:pt x="40" y="20"/>
                    </a:cubicBezTo>
                    <a:cubicBezTo>
                      <a:pt x="40" y="17"/>
                      <a:pt x="37" y="18"/>
                      <a:pt x="36" y="17"/>
                    </a:cubicBezTo>
                    <a:close/>
                    <a:moveTo>
                      <a:pt x="20" y="30"/>
                    </a:moveTo>
                    <a:cubicBezTo>
                      <a:pt x="15" y="30"/>
                      <a:pt x="11" y="26"/>
                      <a:pt x="11" y="21"/>
                    </a:cubicBezTo>
                    <a:cubicBezTo>
                      <a:pt x="11" y="16"/>
                      <a:pt x="15" y="12"/>
                      <a:pt x="20" y="12"/>
                    </a:cubicBezTo>
                    <a:cubicBezTo>
                      <a:pt x="25" y="12"/>
                      <a:pt x="29" y="16"/>
                      <a:pt x="29" y="21"/>
                    </a:cubicBezTo>
                    <a:cubicBezTo>
                      <a:pt x="29" y="26"/>
                      <a:pt x="25" y="30"/>
                      <a:pt x="20" y="30"/>
                    </a:cubicBezTo>
                    <a:close/>
                  </a:path>
                </a:pathLst>
              </a:custGeom>
              <a:noFill/>
              <a:ln w="4" cap="rnd">
                <a:solidFill>
                  <a:schemeClr val="accent5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57" name="Freeform 529"/>
              <p:cNvSpPr>
                <a:spLocks noEditPoints="1"/>
              </p:cNvSpPr>
              <p:nvPr/>
            </p:nvSpPr>
            <p:spPr bwMode="auto">
              <a:xfrm>
                <a:off x="2749551" y="6107113"/>
                <a:ext cx="127000" cy="127000"/>
              </a:xfrm>
              <a:custGeom>
                <a:avLst/>
                <a:gdLst>
                  <a:gd name="T0" fmla="*/ 37 w 40"/>
                  <a:gd name="T1" fmla="*/ 17 h 40"/>
                  <a:gd name="T2" fmla="*/ 33 w 40"/>
                  <a:gd name="T3" fmla="*/ 10 h 40"/>
                  <a:gd name="T4" fmla="*/ 34 w 40"/>
                  <a:gd name="T5" fmla="*/ 6 h 40"/>
                  <a:gd name="T6" fmla="*/ 30 w 40"/>
                  <a:gd name="T7" fmla="*/ 7 h 40"/>
                  <a:gd name="T8" fmla="*/ 29 w 40"/>
                  <a:gd name="T9" fmla="*/ 7 h 40"/>
                  <a:gd name="T10" fmla="*/ 22 w 40"/>
                  <a:gd name="T11" fmla="*/ 2 h 40"/>
                  <a:gd name="T12" fmla="*/ 21 w 40"/>
                  <a:gd name="T13" fmla="*/ 0 h 40"/>
                  <a:gd name="T14" fmla="*/ 18 w 40"/>
                  <a:gd name="T15" fmla="*/ 1 h 40"/>
                  <a:gd name="T16" fmla="*/ 17 w 40"/>
                  <a:gd name="T17" fmla="*/ 5 h 40"/>
                  <a:gd name="T18" fmla="*/ 12 w 40"/>
                  <a:gd name="T19" fmla="*/ 7 h 40"/>
                  <a:gd name="T20" fmla="*/ 9 w 40"/>
                  <a:gd name="T21" fmla="*/ 5 h 40"/>
                  <a:gd name="T22" fmla="*/ 6 w 40"/>
                  <a:gd name="T23" fmla="*/ 6 h 40"/>
                  <a:gd name="T24" fmla="*/ 6 w 40"/>
                  <a:gd name="T25" fmla="*/ 9 h 40"/>
                  <a:gd name="T26" fmla="*/ 7 w 40"/>
                  <a:gd name="T27" fmla="*/ 12 h 40"/>
                  <a:gd name="T28" fmla="*/ 5 w 40"/>
                  <a:gd name="T29" fmla="*/ 17 h 40"/>
                  <a:gd name="T30" fmla="*/ 2 w 40"/>
                  <a:gd name="T31" fmla="*/ 18 h 40"/>
                  <a:gd name="T32" fmla="*/ 0 w 40"/>
                  <a:gd name="T33" fmla="*/ 20 h 40"/>
                  <a:gd name="T34" fmla="*/ 2 w 40"/>
                  <a:gd name="T35" fmla="*/ 22 h 40"/>
                  <a:gd name="T36" fmla="*/ 5 w 40"/>
                  <a:gd name="T37" fmla="*/ 23 h 40"/>
                  <a:gd name="T38" fmla="*/ 7 w 40"/>
                  <a:gd name="T39" fmla="*/ 28 h 40"/>
                  <a:gd name="T40" fmla="*/ 6 w 40"/>
                  <a:gd name="T41" fmla="*/ 31 h 40"/>
                  <a:gd name="T42" fmla="*/ 6 w 40"/>
                  <a:gd name="T43" fmla="*/ 34 h 40"/>
                  <a:gd name="T44" fmla="*/ 9 w 40"/>
                  <a:gd name="T45" fmla="*/ 34 h 40"/>
                  <a:gd name="T46" fmla="*/ 12 w 40"/>
                  <a:gd name="T47" fmla="*/ 33 h 40"/>
                  <a:gd name="T48" fmla="*/ 17 w 40"/>
                  <a:gd name="T49" fmla="*/ 35 h 40"/>
                  <a:gd name="T50" fmla="*/ 18 w 40"/>
                  <a:gd name="T51" fmla="*/ 38 h 40"/>
                  <a:gd name="T52" fmla="*/ 20 w 40"/>
                  <a:gd name="T53" fmla="*/ 40 h 40"/>
                  <a:gd name="T54" fmla="*/ 22 w 40"/>
                  <a:gd name="T55" fmla="*/ 38 h 40"/>
                  <a:gd name="T56" fmla="*/ 24 w 40"/>
                  <a:gd name="T57" fmla="*/ 35 h 40"/>
                  <a:gd name="T58" fmla="*/ 32 w 40"/>
                  <a:gd name="T59" fmla="*/ 34 h 40"/>
                  <a:gd name="T60" fmla="*/ 35 w 40"/>
                  <a:gd name="T61" fmla="*/ 34 h 40"/>
                  <a:gd name="T62" fmla="*/ 35 w 40"/>
                  <a:gd name="T63" fmla="*/ 30 h 40"/>
                  <a:gd name="T64" fmla="*/ 37 w 40"/>
                  <a:gd name="T65" fmla="*/ 22 h 40"/>
                  <a:gd name="T66" fmla="*/ 40 w 40"/>
                  <a:gd name="T67" fmla="*/ 20 h 40"/>
                  <a:gd name="T68" fmla="*/ 37 w 40"/>
                  <a:gd name="T69" fmla="*/ 17 h 40"/>
                  <a:gd name="T70" fmla="*/ 21 w 40"/>
                  <a:gd name="T71" fmla="*/ 30 h 40"/>
                  <a:gd name="T72" fmla="*/ 12 w 40"/>
                  <a:gd name="T73" fmla="*/ 21 h 40"/>
                  <a:gd name="T74" fmla="*/ 21 w 40"/>
                  <a:gd name="T75" fmla="*/ 12 h 40"/>
                  <a:gd name="T76" fmla="*/ 30 w 40"/>
                  <a:gd name="T77" fmla="*/ 21 h 40"/>
                  <a:gd name="T78" fmla="*/ 21 w 40"/>
                  <a:gd name="T79" fmla="*/ 30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40" h="40">
                    <a:moveTo>
                      <a:pt x="37" y="17"/>
                    </a:moveTo>
                    <a:cubicBezTo>
                      <a:pt x="34" y="16"/>
                      <a:pt x="32" y="12"/>
                      <a:pt x="33" y="10"/>
                    </a:cubicBezTo>
                    <a:cubicBezTo>
                      <a:pt x="34" y="8"/>
                      <a:pt x="35" y="7"/>
                      <a:pt x="34" y="6"/>
                    </a:cubicBezTo>
                    <a:cubicBezTo>
                      <a:pt x="32" y="4"/>
                      <a:pt x="31" y="6"/>
                      <a:pt x="30" y="7"/>
                    </a:cubicBezTo>
                    <a:cubicBezTo>
                      <a:pt x="30" y="7"/>
                      <a:pt x="29" y="7"/>
                      <a:pt x="29" y="7"/>
                    </a:cubicBezTo>
                    <a:cubicBezTo>
                      <a:pt x="27" y="7"/>
                      <a:pt x="22" y="6"/>
                      <a:pt x="22" y="2"/>
                    </a:cubicBezTo>
                    <a:cubicBezTo>
                      <a:pt x="22" y="0"/>
                      <a:pt x="22" y="0"/>
                      <a:pt x="21" y="0"/>
                    </a:cubicBezTo>
                    <a:cubicBezTo>
                      <a:pt x="19" y="0"/>
                      <a:pt x="19" y="0"/>
                      <a:pt x="18" y="1"/>
                    </a:cubicBezTo>
                    <a:cubicBezTo>
                      <a:pt x="18" y="3"/>
                      <a:pt x="18" y="4"/>
                      <a:pt x="17" y="5"/>
                    </a:cubicBezTo>
                    <a:cubicBezTo>
                      <a:pt x="16" y="6"/>
                      <a:pt x="14" y="7"/>
                      <a:pt x="12" y="7"/>
                    </a:cubicBezTo>
                    <a:cubicBezTo>
                      <a:pt x="11" y="7"/>
                      <a:pt x="10" y="6"/>
                      <a:pt x="9" y="5"/>
                    </a:cubicBezTo>
                    <a:cubicBezTo>
                      <a:pt x="8" y="5"/>
                      <a:pt x="7" y="5"/>
                      <a:pt x="6" y="6"/>
                    </a:cubicBezTo>
                    <a:cubicBezTo>
                      <a:pt x="5" y="7"/>
                      <a:pt x="5" y="8"/>
                      <a:pt x="6" y="9"/>
                    </a:cubicBezTo>
                    <a:cubicBezTo>
                      <a:pt x="6" y="10"/>
                      <a:pt x="7" y="11"/>
                      <a:pt x="7" y="12"/>
                    </a:cubicBezTo>
                    <a:cubicBezTo>
                      <a:pt x="7" y="13"/>
                      <a:pt x="6" y="15"/>
                      <a:pt x="5" y="17"/>
                    </a:cubicBezTo>
                    <a:cubicBezTo>
                      <a:pt x="5" y="17"/>
                      <a:pt x="3" y="18"/>
                      <a:pt x="2" y="18"/>
                    </a:cubicBezTo>
                    <a:cubicBezTo>
                      <a:pt x="1" y="18"/>
                      <a:pt x="0" y="19"/>
                      <a:pt x="0" y="20"/>
                    </a:cubicBezTo>
                    <a:cubicBezTo>
                      <a:pt x="0" y="21"/>
                      <a:pt x="1" y="22"/>
                      <a:pt x="2" y="22"/>
                    </a:cubicBezTo>
                    <a:cubicBezTo>
                      <a:pt x="3" y="22"/>
                      <a:pt x="5" y="22"/>
                      <a:pt x="5" y="23"/>
                    </a:cubicBezTo>
                    <a:cubicBezTo>
                      <a:pt x="6" y="25"/>
                      <a:pt x="7" y="26"/>
                      <a:pt x="7" y="28"/>
                    </a:cubicBezTo>
                    <a:cubicBezTo>
                      <a:pt x="7" y="29"/>
                      <a:pt x="6" y="30"/>
                      <a:pt x="6" y="31"/>
                    </a:cubicBezTo>
                    <a:cubicBezTo>
                      <a:pt x="5" y="32"/>
                      <a:pt x="5" y="33"/>
                      <a:pt x="6" y="34"/>
                    </a:cubicBezTo>
                    <a:cubicBezTo>
                      <a:pt x="7" y="35"/>
                      <a:pt x="8" y="35"/>
                      <a:pt x="9" y="34"/>
                    </a:cubicBezTo>
                    <a:cubicBezTo>
                      <a:pt x="10" y="34"/>
                      <a:pt x="11" y="33"/>
                      <a:pt x="12" y="33"/>
                    </a:cubicBezTo>
                    <a:cubicBezTo>
                      <a:pt x="14" y="33"/>
                      <a:pt x="15" y="34"/>
                      <a:pt x="17" y="35"/>
                    </a:cubicBezTo>
                    <a:cubicBezTo>
                      <a:pt x="18" y="36"/>
                      <a:pt x="18" y="37"/>
                      <a:pt x="18" y="38"/>
                    </a:cubicBezTo>
                    <a:cubicBezTo>
                      <a:pt x="18" y="39"/>
                      <a:pt x="18" y="40"/>
                      <a:pt x="20" y="40"/>
                    </a:cubicBezTo>
                    <a:cubicBezTo>
                      <a:pt x="21" y="40"/>
                      <a:pt x="22" y="40"/>
                      <a:pt x="22" y="38"/>
                    </a:cubicBezTo>
                    <a:cubicBezTo>
                      <a:pt x="23" y="37"/>
                      <a:pt x="23" y="35"/>
                      <a:pt x="24" y="35"/>
                    </a:cubicBezTo>
                    <a:cubicBezTo>
                      <a:pt x="27" y="34"/>
                      <a:pt x="29" y="32"/>
                      <a:pt x="32" y="34"/>
                    </a:cubicBezTo>
                    <a:cubicBezTo>
                      <a:pt x="32" y="34"/>
                      <a:pt x="33" y="35"/>
                      <a:pt x="35" y="34"/>
                    </a:cubicBezTo>
                    <a:cubicBezTo>
                      <a:pt x="36" y="32"/>
                      <a:pt x="35" y="31"/>
                      <a:pt x="35" y="30"/>
                    </a:cubicBezTo>
                    <a:cubicBezTo>
                      <a:pt x="32" y="27"/>
                      <a:pt x="34" y="22"/>
                      <a:pt x="37" y="22"/>
                    </a:cubicBezTo>
                    <a:cubicBezTo>
                      <a:pt x="39" y="22"/>
                      <a:pt x="40" y="22"/>
                      <a:pt x="40" y="20"/>
                    </a:cubicBezTo>
                    <a:cubicBezTo>
                      <a:pt x="40" y="17"/>
                      <a:pt x="38" y="18"/>
                      <a:pt x="37" y="17"/>
                    </a:cubicBezTo>
                    <a:close/>
                    <a:moveTo>
                      <a:pt x="21" y="30"/>
                    </a:moveTo>
                    <a:cubicBezTo>
                      <a:pt x="16" y="30"/>
                      <a:pt x="12" y="26"/>
                      <a:pt x="12" y="21"/>
                    </a:cubicBezTo>
                    <a:cubicBezTo>
                      <a:pt x="12" y="16"/>
                      <a:pt x="16" y="12"/>
                      <a:pt x="21" y="12"/>
                    </a:cubicBezTo>
                    <a:cubicBezTo>
                      <a:pt x="26" y="12"/>
                      <a:pt x="30" y="16"/>
                      <a:pt x="30" y="21"/>
                    </a:cubicBezTo>
                    <a:cubicBezTo>
                      <a:pt x="30" y="26"/>
                      <a:pt x="26" y="30"/>
                      <a:pt x="21" y="30"/>
                    </a:cubicBezTo>
                    <a:close/>
                  </a:path>
                </a:pathLst>
              </a:custGeom>
              <a:noFill/>
              <a:ln w="4" cap="rnd">
                <a:solidFill>
                  <a:schemeClr val="accent5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58" name="Freeform 530"/>
              <p:cNvSpPr>
                <a:spLocks noEditPoints="1"/>
              </p:cNvSpPr>
              <p:nvPr/>
            </p:nvSpPr>
            <p:spPr bwMode="auto">
              <a:xfrm>
                <a:off x="2679701" y="5859463"/>
                <a:ext cx="225425" cy="228600"/>
              </a:xfrm>
              <a:custGeom>
                <a:avLst/>
                <a:gdLst>
                  <a:gd name="T0" fmla="*/ 66 w 71"/>
                  <a:gd name="T1" fmla="*/ 31 h 72"/>
                  <a:gd name="T2" fmla="*/ 59 w 71"/>
                  <a:gd name="T3" fmla="*/ 18 h 72"/>
                  <a:gd name="T4" fmla="*/ 60 w 71"/>
                  <a:gd name="T5" fmla="*/ 11 h 72"/>
                  <a:gd name="T6" fmla="*/ 53 w 71"/>
                  <a:gd name="T7" fmla="*/ 12 h 72"/>
                  <a:gd name="T8" fmla="*/ 51 w 71"/>
                  <a:gd name="T9" fmla="*/ 13 h 72"/>
                  <a:gd name="T10" fmla="*/ 39 w 71"/>
                  <a:gd name="T11" fmla="*/ 3 h 72"/>
                  <a:gd name="T12" fmla="*/ 36 w 71"/>
                  <a:gd name="T13" fmla="*/ 1 h 72"/>
                  <a:gd name="T14" fmla="*/ 32 w 71"/>
                  <a:gd name="T15" fmla="*/ 3 h 72"/>
                  <a:gd name="T16" fmla="*/ 30 w 71"/>
                  <a:gd name="T17" fmla="*/ 9 h 72"/>
                  <a:gd name="T18" fmla="*/ 21 w 71"/>
                  <a:gd name="T19" fmla="*/ 13 h 72"/>
                  <a:gd name="T20" fmla="*/ 15 w 71"/>
                  <a:gd name="T21" fmla="*/ 10 h 72"/>
                  <a:gd name="T22" fmla="*/ 10 w 71"/>
                  <a:gd name="T23" fmla="*/ 11 h 72"/>
                  <a:gd name="T24" fmla="*/ 10 w 71"/>
                  <a:gd name="T25" fmla="*/ 16 h 72"/>
                  <a:gd name="T26" fmla="*/ 13 w 71"/>
                  <a:gd name="T27" fmla="*/ 21 h 72"/>
                  <a:gd name="T28" fmla="*/ 9 w 71"/>
                  <a:gd name="T29" fmla="*/ 30 h 72"/>
                  <a:gd name="T30" fmla="*/ 3 w 71"/>
                  <a:gd name="T31" fmla="*/ 32 h 72"/>
                  <a:gd name="T32" fmla="*/ 0 w 71"/>
                  <a:gd name="T33" fmla="*/ 36 h 72"/>
                  <a:gd name="T34" fmla="*/ 3 w 71"/>
                  <a:gd name="T35" fmla="*/ 40 h 72"/>
                  <a:gd name="T36" fmla="*/ 9 w 71"/>
                  <a:gd name="T37" fmla="*/ 42 h 72"/>
                  <a:gd name="T38" fmla="*/ 13 w 71"/>
                  <a:gd name="T39" fmla="*/ 51 h 72"/>
                  <a:gd name="T40" fmla="*/ 10 w 71"/>
                  <a:gd name="T41" fmla="*/ 56 h 72"/>
                  <a:gd name="T42" fmla="*/ 10 w 71"/>
                  <a:gd name="T43" fmla="*/ 62 h 72"/>
                  <a:gd name="T44" fmla="*/ 16 w 71"/>
                  <a:gd name="T45" fmla="*/ 62 h 72"/>
                  <a:gd name="T46" fmla="*/ 21 w 71"/>
                  <a:gd name="T47" fmla="*/ 59 h 72"/>
                  <a:gd name="T48" fmla="*/ 30 w 71"/>
                  <a:gd name="T49" fmla="*/ 63 h 72"/>
                  <a:gd name="T50" fmla="*/ 32 w 71"/>
                  <a:gd name="T51" fmla="*/ 69 h 72"/>
                  <a:gd name="T52" fmla="*/ 35 w 71"/>
                  <a:gd name="T53" fmla="*/ 72 h 72"/>
                  <a:gd name="T54" fmla="*/ 40 w 71"/>
                  <a:gd name="T55" fmla="*/ 69 h 72"/>
                  <a:gd name="T56" fmla="*/ 42 w 71"/>
                  <a:gd name="T57" fmla="*/ 63 h 72"/>
                  <a:gd name="T58" fmla="*/ 56 w 71"/>
                  <a:gd name="T59" fmla="*/ 61 h 72"/>
                  <a:gd name="T60" fmla="*/ 62 w 71"/>
                  <a:gd name="T61" fmla="*/ 61 h 72"/>
                  <a:gd name="T62" fmla="*/ 61 w 71"/>
                  <a:gd name="T63" fmla="*/ 54 h 72"/>
                  <a:gd name="T64" fmla="*/ 65 w 71"/>
                  <a:gd name="T65" fmla="*/ 40 h 72"/>
                  <a:gd name="T66" fmla="*/ 71 w 71"/>
                  <a:gd name="T67" fmla="*/ 36 h 72"/>
                  <a:gd name="T68" fmla="*/ 66 w 71"/>
                  <a:gd name="T69" fmla="*/ 31 h 72"/>
                  <a:gd name="T70" fmla="*/ 36 w 71"/>
                  <a:gd name="T71" fmla="*/ 54 h 72"/>
                  <a:gd name="T72" fmla="*/ 20 w 71"/>
                  <a:gd name="T73" fmla="*/ 37 h 72"/>
                  <a:gd name="T74" fmla="*/ 37 w 71"/>
                  <a:gd name="T75" fmla="*/ 21 h 72"/>
                  <a:gd name="T76" fmla="*/ 53 w 71"/>
                  <a:gd name="T77" fmla="*/ 38 h 72"/>
                  <a:gd name="T78" fmla="*/ 36 w 71"/>
                  <a:gd name="T79" fmla="*/ 54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71" h="72">
                    <a:moveTo>
                      <a:pt x="66" y="31"/>
                    </a:moveTo>
                    <a:cubicBezTo>
                      <a:pt x="61" y="30"/>
                      <a:pt x="57" y="22"/>
                      <a:pt x="59" y="18"/>
                    </a:cubicBezTo>
                    <a:cubicBezTo>
                      <a:pt x="61" y="14"/>
                      <a:pt x="62" y="13"/>
                      <a:pt x="60" y="11"/>
                    </a:cubicBezTo>
                    <a:cubicBezTo>
                      <a:pt x="57" y="8"/>
                      <a:pt x="55" y="11"/>
                      <a:pt x="53" y="12"/>
                    </a:cubicBezTo>
                    <a:cubicBezTo>
                      <a:pt x="52" y="13"/>
                      <a:pt x="51" y="13"/>
                      <a:pt x="51" y="13"/>
                    </a:cubicBezTo>
                    <a:cubicBezTo>
                      <a:pt x="47" y="14"/>
                      <a:pt x="39" y="11"/>
                      <a:pt x="39" y="3"/>
                    </a:cubicBezTo>
                    <a:cubicBezTo>
                      <a:pt x="39" y="1"/>
                      <a:pt x="38" y="0"/>
                      <a:pt x="36" y="1"/>
                    </a:cubicBezTo>
                    <a:cubicBezTo>
                      <a:pt x="34" y="1"/>
                      <a:pt x="33" y="1"/>
                      <a:pt x="32" y="3"/>
                    </a:cubicBezTo>
                    <a:cubicBezTo>
                      <a:pt x="32" y="5"/>
                      <a:pt x="31" y="8"/>
                      <a:pt x="30" y="9"/>
                    </a:cubicBezTo>
                    <a:cubicBezTo>
                      <a:pt x="28" y="11"/>
                      <a:pt x="24" y="13"/>
                      <a:pt x="21" y="13"/>
                    </a:cubicBezTo>
                    <a:cubicBezTo>
                      <a:pt x="19" y="13"/>
                      <a:pt x="17" y="12"/>
                      <a:pt x="15" y="10"/>
                    </a:cubicBezTo>
                    <a:cubicBezTo>
                      <a:pt x="13" y="9"/>
                      <a:pt x="12" y="9"/>
                      <a:pt x="10" y="11"/>
                    </a:cubicBezTo>
                    <a:cubicBezTo>
                      <a:pt x="8" y="13"/>
                      <a:pt x="9" y="14"/>
                      <a:pt x="10" y="16"/>
                    </a:cubicBezTo>
                    <a:cubicBezTo>
                      <a:pt x="11" y="18"/>
                      <a:pt x="13" y="20"/>
                      <a:pt x="13" y="21"/>
                    </a:cubicBezTo>
                    <a:cubicBezTo>
                      <a:pt x="12" y="25"/>
                      <a:pt x="11" y="28"/>
                      <a:pt x="9" y="30"/>
                    </a:cubicBezTo>
                    <a:cubicBezTo>
                      <a:pt x="8" y="32"/>
                      <a:pt x="5" y="32"/>
                      <a:pt x="3" y="32"/>
                    </a:cubicBezTo>
                    <a:cubicBezTo>
                      <a:pt x="1" y="33"/>
                      <a:pt x="0" y="34"/>
                      <a:pt x="0" y="36"/>
                    </a:cubicBezTo>
                    <a:cubicBezTo>
                      <a:pt x="0" y="39"/>
                      <a:pt x="1" y="40"/>
                      <a:pt x="3" y="40"/>
                    </a:cubicBezTo>
                    <a:cubicBezTo>
                      <a:pt x="5" y="40"/>
                      <a:pt x="8" y="41"/>
                      <a:pt x="9" y="42"/>
                    </a:cubicBezTo>
                    <a:cubicBezTo>
                      <a:pt x="11" y="45"/>
                      <a:pt x="12" y="48"/>
                      <a:pt x="13" y="51"/>
                    </a:cubicBezTo>
                    <a:cubicBezTo>
                      <a:pt x="13" y="53"/>
                      <a:pt x="11" y="55"/>
                      <a:pt x="10" y="56"/>
                    </a:cubicBezTo>
                    <a:cubicBezTo>
                      <a:pt x="9" y="58"/>
                      <a:pt x="8" y="60"/>
                      <a:pt x="10" y="62"/>
                    </a:cubicBezTo>
                    <a:cubicBezTo>
                      <a:pt x="12" y="64"/>
                      <a:pt x="14" y="63"/>
                      <a:pt x="16" y="62"/>
                    </a:cubicBezTo>
                    <a:cubicBezTo>
                      <a:pt x="17" y="61"/>
                      <a:pt x="19" y="59"/>
                      <a:pt x="21" y="59"/>
                    </a:cubicBezTo>
                    <a:cubicBezTo>
                      <a:pt x="24" y="60"/>
                      <a:pt x="27" y="61"/>
                      <a:pt x="30" y="63"/>
                    </a:cubicBezTo>
                    <a:cubicBezTo>
                      <a:pt x="31" y="64"/>
                      <a:pt x="31" y="67"/>
                      <a:pt x="32" y="69"/>
                    </a:cubicBezTo>
                    <a:cubicBezTo>
                      <a:pt x="32" y="71"/>
                      <a:pt x="32" y="72"/>
                      <a:pt x="35" y="72"/>
                    </a:cubicBezTo>
                    <a:cubicBezTo>
                      <a:pt x="38" y="72"/>
                      <a:pt x="39" y="72"/>
                      <a:pt x="40" y="69"/>
                    </a:cubicBezTo>
                    <a:cubicBezTo>
                      <a:pt x="40" y="67"/>
                      <a:pt x="41" y="64"/>
                      <a:pt x="42" y="63"/>
                    </a:cubicBezTo>
                    <a:cubicBezTo>
                      <a:pt x="47" y="61"/>
                      <a:pt x="51" y="57"/>
                      <a:pt x="56" y="61"/>
                    </a:cubicBezTo>
                    <a:cubicBezTo>
                      <a:pt x="56" y="62"/>
                      <a:pt x="59" y="64"/>
                      <a:pt x="62" y="61"/>
                    </a:cubicBezTo>
                    <a:cubicBezTo>
                      <a:pt x="64" y="58"/>
                      <a:pt x="63" y="56"/>
                      <a:pt x="61" y="54"/>
                    </a:cubicBezTo>
                    <a:cubicBezTo>
                      <a:pt x="57" y="49"/>
                      <a:pt x="61" y="40"/>
                      <a:pt x="65" y="40"/>
                    </a:cubicBezTo>
                    <a:cubicBezTo>
                      <a:pt x="70" y="40"/>
                      <a:pt x="71" y="39"/>
                      <a:pt x="71" y="36"/>
                    </a:cubicBezTo>
                    <a:cubicBezTo>
                      <a:pt x="71" y="32"/>
                      <a:pt x="67" y="32"/>
                      <a:pt x="66" y="31"/>
                    </a:cubicBezTo>
                    <a:close/>
                    <a:moveTo>
                      <a:pt x="36" y="54"/>
                    </a:moveTo>
                    <a:cubicBezTo>
                      <a:pt x="27" y="54"/>
                      <a:pt x="20" y="46"/>
                      <a:pt x="20" y="37"/>
                    </a:cubicBezTo>
                    <a:cubicBezTo>
                      <a:pt x="20" y="29"/>
                      <a:pt x="28" y="21"/>
                      <a:pt x="37" y="21"/>
                    </a:cubicBezTo>
                    <a:cubicBezTo>
                      <a:pt x="45" y="21"/>
                      <a:pt x="53" y="29"/>
                      <a:pt x="53" y="38"/>
                    </a:cubicBezTo>
                    <a:cubicBezTo>
                      <a:pt x="53" y="47"/>
                      <a:pt x="45" y="54"/>
                      <a:pt x="36" y="54"/>
                    </a:cubicBezTo>
                    <a:close/>
                  </a:path>
                </a:pathLst>
              </a:custGeom>
              <a:noFill/>
              <a:ln w="4" cap="rnd">
                <a:solidFill>
                  <a:schemeClr val="accent5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latin typeface="Arial" pitchFamily="34" charset="0"/>
                  <a:cs typeface="Arial" pitchFamily="34" charset="0"/>
                </a:endParaRPr>
              </a:p>
            </p:txBody>
          </p:sp>
        </p:grpSp>
        <p:grpSp>
          <p:nvGrpSpPr>
            <p:cNvPr id="135" name="Group 44"/>
            <p:cNvGrpSpPr/>
            <p:nvPr/>
          </p:nvGrpSpPr>
          <p:grpSpPr>
            <a:xfrm>
              <a:off x="5098287" y="1727208"/>
              <a:ext cx="290294" cy="271509"/>
              <a:chOff x="2497138" y="5654676"/>
              <a:chExt cx="700088" cy="700088"/>
            </a:xfrm>
          </p:grpSpPr>
          <p:sp>
            <p:nvSpPr>
              <p:cNvPr id="151" name="Freeform 527"/>
              <p:cNvSpPr>
                <a:spLocks noEditPoints="1"/>
              </p:cNvSpPr>
              <p:nvPr/>
            </p:nvSpPr>
            <p:spPr bwMode="auto">
              <a:xfrm>
                <a:off x="2497138" y="5654676"/>
                <a:ext cx="700088" cy="700088"/>
              </a:xfrm>
              <a:custGeom>
                <a:avLst/>
                <a:gdLst>
                  <a:gd name="T0" fmla="*/ 122 w 220"/>
                  <a:gd name="T1" fmla="*/ 220 h 220"/>
                  <a:gd name="T2" fmla="*/ 41 w 220"/>
                  <a:gd name="T3" fmla="*/ 220 h 220"/>
                  <a:gd name="T4" fmla="*/ 0 w 220"/>
                  <a:gd name="T5" fmla="*/ 178 h 220"/>
                  <a:gd name="T6" fmla="*/ 0 w 220"/>
                  <a:gd name="T7" fmla="*/ 41 h 220"/>
                  <a:gd name="T8" fmla="*/ 41 w 220"/>
                  <a:gd name="T9" fmla="*/ 0 h 220"/>
                  <a:gd name="T10" fmla="*/ 179 w 220"/>
                  <a:gd name="T11" fmla="*/ 0 h 220"/>
                  <a:gd name="T12" fmla="*/ 220 w 220"/>
                  <a:gd name="T13" fmla="*/ 41 h 220"/>
                  <a:gd name="T14" fmla="*/ 220 w 220"/>
                  <a:gd name="T15" fmla="*/ 178 h 220"/>
                  <a:gd name="T16" fmla="*/ 179 w 220"/>
                  <a:gd name="T17" fmla="*/ 220 h 220"/>
                  <a:gd name="T18" fmla="*/ 160 w 220"/>
                  <a:gd name="T19" fmla="*/ 220 h 220"/>
                  <a:gd name="T20" fmla="*/ 41 w 220"/>
                  <a:gd name="T21" fmla="*/ 13 h 220"/>
                  <a:gd name="T22" fmla="*/ 27 w 220"/>
                  <a:gd name="T23" fmla="*/ 27 h 220"/>
                  <a:gd name="T24" fmla="*/ 41 w 220"/>
                  <a:gd name="T25" fmla="*/ 41 h 220"/>
                  <a:gd name="T26" fmla="*/ 55 w 220"/>
                  <a:gd name="T27" fmla="*/ 27 h 220"/>
                  <a:gd name="T28" fmla="*/ 41 w 220"/>
                  <a:gd name="T29" fmla="*/ 13 h 220"/>
                  <a:gd name="T30" fmla="*/ 192 w 220"/>
                  <a:gd name="T31" fmla="*/ 55 h 220"/>
                  <a:gd name="T32" fmla="*/ 27 w 220"/>
                  <a:gd name="T33" fmla="*/ 55 h 220"/>
                  <a:gd name="T34" fmla="*/ 27 w 220"/>
                  <a:gd name="T35" fmla="*/ 178 h 220"/>
                  <a:gd name="T36" fmla="*/ 41 w 220"/>
                  <a:gd name="T37" fmla="*/ 192 h 220"/>
                  <a:gd name="T38" fmla="*/ 179 w 220"/>
                  <a:gd name="T39" fmla="*/ 192 h 220"/>
                  <a:gd name="T40" fmla="*/ 192 w 220"/>
                  <a:gd name="T41" fmla="*/ 178 h 220"/>
                  <a:gd name="T42" fmla="*/ 192 w 220"/>
                  <a:gd name="T43" fmla="*/ 55 h 2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220" h="220">
                    <a:moveTo>
                      <a:pt x="122" y="220"/>
                    </a:moveTo>
                    <a:cubicBezTo>
                      <a:pt x="41" y="220"/>
                      <a:pt x="41" y="220"/>
                      <a:pt x="41" y="220"/>
                    </a:cubicBezTo>
                    <a:cubicBezTo>
                      <a:pt x="18" y="220"/>
                      <a:pt x="0" y="201"/>
                      <a:pt x="0" y="178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18"/>
                      <a:pt x="18" y="0"/>
                      <a:pt x="41" y="0"/>
                    </a:cubicBezTo>
                    <a:cubicBezTo>
                      <a:pt x="179" y="0"/>
                      <a:pt x="179" y="0"/>
                      <a:pt x="179" y="0"/>
                    </a:cubicBezTo>
                    <a:cubicBezTo>
                      <a:pt x="201" y="0"/>
                      <a:pt x="220" y="18"/>
                      <a:pt x="220" y="41"/>
                    </a:cubicBezTo>
                    <a:cubicBezTo>
                      <a:pt x="220" y="178"/>
                      <a:pt x="220" y="178"/>
                      <a:pt x="220" y="178"/>
                    </a:cubicBezTo>
                    <a:cubicBezTo>
                      <a:pt x="220" y="201"/>
                      <a:pt x="201" y="220"/>
                      <a:pt x="179" y="220"/>
                    </a:cubicBezTo>
                    <a:cubicBezTo>
                      <a:pt x="160" y="220"/>
                      <a:pt x="160" y="220"/>
                      <a:pt x="160" y="220"/>
                    </a:cubicBezTo>
                    <a:moveTo>
                      <a:pt x="41" y="13"/>
                    </a:moveTo>
                    <a:cubicBezTo>
                      <a:pt x="33" y="13"/>
                      <a:pt x="27" y="19"/>
                      <a:pt x="27" y="27"/>
                    </a:cubicBezTo>
                    <a:cubicBezTo>
                      <a:pt x="27" y="35"/>
                      <a:pt x="33" y="41"/>
                      <a:pt x="41" y="41"/>
                    </a:cubicBezTo>
                    <a:cubicBezTo>
                      <a:pt x="49" y="41"/>
                      <a:pt x="55" y="35"/>
                      <a:pt x="55" y="27"/>
                    </a:cubicBezTo>
                    <a:cubicBezTo>
                      <a:pt x="55" y="19"/>
                      <a:pt x="49" y="13"/>
                      <a:pt x="41" y="13"/>
                    </a:cubicBezTo>
                    <a:close/>
                    <a:moveTo>
                      <a:pt x="192" y="55"/>
                    </a:moveTo>
                    <a:cubicBezTo>
                      <a:pt x="27" y="55"/>
                      <a:pt x="27" y="55"/>
                      <a:pt x="27" y="55"/>
                    </a:cubicBezTo>
                    <a:cubicBezTo>
                      <a:pt x="27" y="178"/>
                      <a:pt x="27" y="178"/>
                      <a:pt x="27" y="178"/>
                    </a:cubicBezTo>
                    <a:cubicBezTo>
                      <a:pt x="27" y="186"/>
                      <a:pt x="33" y="192"/>
                      <a:pt x="41" y="192"/>
                    </a:cubicBezTo>
                    <a:cubicBezTo>
                      <a:pt x="179" y="192"/>
                      <a:pt x="179" y="192"/>
                      <a:pt x="179" y="192"/>
                    </a:cubicBezTo>
                    <a:cubicBezTo>
                      <a:pt x="186" y="192"/>
                      <a:pt x="192" y="186"/>
                      <a:pt x="192" y="178"/>
                    </a:cubicBezTo>
                    <a:lnTo>
                      <a:pt x="192" y="55"/>
                    </a:lnTo>
                    <a:close/>
                  </a:path>
                </a:pathLst>
              </a:custGeom>
              <a:noFill/>
              <a:ln w="8" cap="rnd">
                <a:solidFill>
                  <a:schemeClr val="accent5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52" name="Freeform 528"/>
              <p:cNvSpPr>
                <a:spLocks noEditPoints="1"/>
              </p:cNvSpPr>
              <p:nvPr/>
            </p:nvSpPr>
            <p:spPr bwMode="auto">
              <a:xfrm>
                <a:off x="2921001" y="5875338"/>
                <a:ext cx="127000" cy="127000"/>
              </a:xfrm>
              <a:custGeom>
                <a:avLst/>
                <a:gdLst>
                  <a:gd name="T0" fmla="*/ 36 w 40"/>
                  <a:gd name="T1" fmla="*/ 17 h 40"/>
                  <a:gd name="T2" fmla="*/ 33 w 40"/>
                  <a:gd name="T3" fmla="*/ 10 h 40"/>
                  <a:gd name="T4" fmla="*/ 33 w 40"/>
                  <a:gd name="T5" fmla="*/ 6 h 40"/>
                  <a:gd name="T6" fmla="*/ 29 w 40"/>
                  <a:gd name="T7" fmla="*/ 7 h 40"/>
                  <a:gd name="T8" fmla="*/ 28 w 40"/>
                  <a:gd name="T9" fmla="*/ 7 h 40"/>
                  <a:gd name="T10" fmla="*/ 22 w 40"/>
                  <a:gd name="T11" fmla="*/ 2 h 40"/>
                  <a:gd name="T12" fmla="*/ 20 w 40"/>
                  <a:gd name="T13" fmla="*/ 0 h 40"/>
                  <a:gd name="T14" fmla="*/ 18 w 40"/>
                  <a:gd name="T15" fmla="*/ 1 h 40"/>
                  <a:gd name="T16" fmla="*/ 16 w 40"/>
                  <a:gd name="T17" fmla="*/ 5 h 40"/>
                  <a:gd name="T18" fmla="*/ 11 w 40"/>
                  <a:gd name="T19" fmla="*/ 7 h 40"/>
                  <a:gd name="T20" fmla="*/ 8 w 40"/>
                  <a:gd name="T21" fmla="*/ 6 h 40"/>
                  <a:gd name="T22" fmla="*/ 5 w 40"/>
                  <a:gd name="T23" fmla="*/ 6 h 40"/>
                  <a:gd name="T24" fmla="*/ 5 w 40"/>
                  <a:gd name="T25" fmla="*/ 9 h 40"/>
                  <a:gd name="T26" fmla="*/ 7 w 40"/>
                  <a:gd name="T27" fmla="*/ 12 h 40"/>
                  <a:gd name="T28" fmla="*/ 5 w 40"/>
                  <a:gd name="T29" fmla="*/ 17 h 40"/>
                  <a:gd name="T30" fmla="*/ 1 w 40"/>
                  <a:gd name="T31" fmla="*/ 18 h 40"/>
                  <a:gd name="T32" fmla="*/ 0 w 40"/>
                  <a:gd name="T33" fmla="*/ 20 h 40"/>
                  <a:gd name="T34" fmla="*/ 2 w 40"/>
                  <a:gd name="T35" fmla="*/ 22 h 40"/>
                  <a:gd name="T36" fmla="*/ 5 w 40"/>
                  <a:gd name="T37" fmla="*/ 23 h 40"/>
                  <a:gd name="T38" fmla="*/ 7 w 40"/>
                  <a:gd name="T39" fmla="*/ 28 h 40"/>
                  <a:gd name="T40" fmla="*/ 5 w 40"/>
                  <a:gd name="T41" fmla="*/ 31 h 40"/>
                  <a:gd name="T42" fmla="*/ 6 w 40"/>
                  <a:gd name="T43" fmla="*/ 34 h 40"/>
                  <a:gd name="T44" fmla="*/ 9 w 40"/>
                  <a:gd name="T45" fmla="*/ 34 h 40"/>
                  <a:gd name="T46" fmla="*/ 11 w 40"/>
                  <a:gd name="T47" fmla="*/ 33 h 40"/>
                  <a:gd name="T48" fmla="*/ 16 w 40"/>
                  <a:gd name="T49" fmla="*/ 35 h 40"/>
                  <a:gd name="T50" fmla="*/ 18 w 40"/>
                  <a:gd name="T51" fmla="*/ 38 h 40"/>
                  <a:gd name="T52" fmla="*/ 19 w 40"/>
                  <a:gd name="T53" fmla="*/ 40 h 40"/>
                  <a:gd name="T54" fmla="*/ 22 w 40"/>
                  <a:gd name="T55" fmla="*/ 38 h 40"/>
                  <a:gd name="T56" fmla="*/ 23 w 40"/>
                  <a:gd name="T57" fmla="*/ 35 h 40"/>
                  <a:gd name="T58" fmla="*/ 31 w 40"/>
                  <a:gd name="T59" fmla="*/ 34 h 40"/>
                  <a:gd name="T60" fmla="*/ 34 w 40"/>
                  <a:gd name="T61" fmla="*/ 34 h 40"/>
                  <a:gd name="T62" fmla="*/ 34 w 40"/>
                  <a:gd name="T63" fmla="*/ 30 h 40"/>
                  <a:gd name="T64" fmla="*/ 36 w 40"/>
                  <a:gd name="T65" fmla="*/ 22 h 40"/>
                  <a:gd name="T66" fmla="*/ 40 w 40"/>
                  <a:gd name="T67" fmla="*/ 20 h 40"/>
                  <a:gd name="T68" fmla="*/ 36 w 40"/>
                  <a:gd name="T69" fmla="*/ 17 h 40"/>
                  <a:gd name="T70" fmla="*/ 20 w 40"/>
                  <a:gd name="T71" fmla="*/ 30 h 40"/>
                  <a:gd name="T72" fmla="*/ 11 w 40"/>
                  <a:gd name="T73" fmla="*/ 21 h 40"/>
                  <a:gd name="T74" fmla="*/ 20 w 40"/>
                  <a:gd name="T75" fmla="*/ 12 h 40"/>
                  <a:gd name="T76" fmla="*/ 29 w 40"/>
                  <a:gd name="T77" fmla="*/ 21 h 40"/>
                  <a:gd name="T78" fmla="*/ 20 w 40"/>
                  <a:gd name="T79" fmla="*/ 30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40" h="40">
                    <a:moveTo>
                      <a:pt x="36" y="17"/>
                    </a:moveTo>
                    <a:cubicBezTo>
                      <a:pt x="34" y="16"/>
                      <a:pt x="32" y="12"/>
                      <a:pt x="33" y="10"/>
                    </a:cubicBezTo>
                    <a:cubicBezTo>
                      <a:pt x="34" y="8"/>
                      <a:pt x="35" y="7"/>
                      <a:pt x="33" y="6"/>
                    </a:cubicBezTo>
                    <a:cubicBezTo>
                      <a:pt x="32" y="4"/>
                      <a:pt x="31" y="6"/>
                      <a:pt x="29" y="7"/>
                    </a:cubicBezTo>
                    <a:cubicBezTo>
                      <a:pt x="29" y="7"/>
                      <a:pt x="28" y="7"/>
                      <a:pt x="28" y="7"/>
                    </a:cubicBezTo>
                    <a:cubicBezTo>
                      <a:pt x="26" y="7"/>
                      <a:pt x="22" y="6"/>
                      <a:pt x="22" y="2"/>
                    </a:cubicBezTo>
                    <a:cubicBezTo>
                      <a:pt x="22" y="0"/>
                      <a:pt x="21" y="0"/>
                      <a:pt x="20" y="0"/>
                    </a:cubicBezTo>
                    <a:cubicBezTo>
                      <a:pt x="19" y="0"/>
                      <a:pt x="18" y="0"/>
                      <a:pt x="18" y="1"/>
                    </a:cubicBezTo>
                    <a:cubicBezTo>
                      <a:pt x="18" y="3"/>
                      <a:pt x="17" y="4"/>
                      <a:pt x="16" y="5"/>
                    </a:cubicBezTo>
                    <a:cubicBezTo>
                      <a:pt x="15" y="6"/>
                      <a:pt x="13" y="7"/>
                      <a:pt x="11" y="7"/>
                    </a:cubicBezTo>
                    <a:cubicBezTo>
                      <a:pt x="10" y="7"/>
                      <a:pt x="9" y="6"/>
                      <a:pt x="8" y="6"/>
                    </a:cubicBezTo>
                    <a:cubicBezTo>
                      <a:pt x="7" y="5"/>
                      <a:pt x="6" y="5"/>
                      <a:pt x="5" y="6"/>
                    </a:cubicBezTo>
                    <a:cubicBezTo>
                      <a:pt x="4" y="7"/>
                      <a:pt x="5" y="8"/>
                      <a:pt x="5" y="9"/>
                    </a:cubicBezTo>
                    <a:cubicBezTo>
                      <a:pt x="6" y="10"/>
                      <a:pt x="7" y="11"/>
                      <a:pt x="7" y="12"/>
                    </a:cubicBezTo>
                    <a:cubicBezTo>
                      <a:pt x="7" y="13"/>
                      <a:pt x="6" y="15"/>
                      <a:pt x="5" y="17"/>
                    </a:cubicBezTo>
                    <a:cubicBezTo>
                      <a:pt x="4" y="17"/>
                      <a:pt x="3" y="18"/>
                      <a:pt x="1" y="18"/>
                    </a:cubicBezTo>
                    <a:cubicBezTo>
                      <a:pt x="0" y="18"/>
                      <a:pt x="0" y="19"/>
                      <a:pt x="0" y="20"/>
                    </a:cubicBezTo>
                    <a:cubicBezTo>
                      <a:pt x="0" y="21"/>
                      <a:pt x="0" y="22"/>
                      <a:pt x="2" y="22"/>
                    </a:cubicBezTo>
                    <a:cubicBezTo>
                      <a:pt x="3" y="22"/>
                      <a:pt x="4" y="22"/>
                      <a:pt x="5" y="23"/>
                    </a:cubicBezTo>
                    <a:cubicBezTo>
                      <a:pt x="6" y="25"/>
                      <a:pt x="6" y="26"/>
                      <a:pt x="7" y="28"/>
                    </a:cubicBezTo>
                    <a:cubicBezTo>
                      <a:pt x="7" y="29"/>
                      <a:pt x="6" y="30"/>
                      <a:pt x="5" y="31"/>
                    </a:cubicBezTo>
                    <a:cubicBezTo>
                      <a:pt x="5" y="32"/>
                      <a:pt x="4" y="33"/>
                      <a:pt x="6" y="34"/>
                    </a:cubicBezTo>
                    <a:cubicBezTo>
                      <a:pt x="7" y="35"/>
                      <a:pt x="7" y="35"/>
                      <a:pt x="9" y="34"/>
                    </a:cubicBezTo>
                    <a:cubicBezTo>
                      <a:pt x="9" y="34"/>
                      <a:pt x="11" y="33"/>
                      <a:pt x="11" y="33"/>
                    </a:cubicBezTo>
                    <a:cubicBezTo>
                      <a:pt x="13" y="33"/>
                      <a:pt x="15" y="34"/>
                      <a:pt x="16" y="35"/>
                    </a:cubicBezTo>
                    <a:cubicBezTo>
                      <a:pt x="17" y="36"/>
                      <a:pt x="17" y="37"/>
                      <a:pt x="18" y="38"/>
                    </a:cubicBezTo>
                    <a:cubicBezTo>
                      <a:pt x="18" y="39"/>
                      <a:pt x="18" y="40"/>
                      <a:pt x="19" y="40"/>
                    </a:cubicBezTo>
                    <a:cubicBezTo>
                      <a:pt x="21" y="40"/>
                      <a:pt x="22" y="40"/>
                      <a:pt x="22" y="38"/>
                    </a:cubicBezTo>
                    <a:cubicBezTo>
                      <a:pt x="22" y="37"/>
                      <a:pt x="23" y="35"/>
                      <a:pt x="23" y="35"/>
                    </a:cubicBezTo>
                    <a:cubicBezTo>
                      <a:pt x="26" y="34"/>
                      <a:pt x="29" y="32"/>
                      <a:pt x="31" y="34"/>
                    </a:cubicBezTo>
                    <a:cubicBezTo>
                      <a:pt x="31" y="34"/>
                      <a:pt x="33" y="35"/>
                      <a:pt x="34" y="34"/>
                    </a:cubicBezTo>
                    <a:cubicBezTo>
                      <a:pt x="36" y="32"/>
                      <a:pt x="35" y="31"/>
                      <a:pt x="34" y="30"/>
                    </a:cubicBezTo>
                    <a:cubicBezTo>
                      <a:pt x="32" y="27"/>
                      <a:pt x="34" y="22"/>
                      <a:pt x="36" y="22"/>
                    </a:cubicBezTo>
                    <a:cubicBezTo>
                      <a:pt x="39" y="22"/>
                      <a:pt x="40" y="22"/>
                      <a:pt x="40" y="20"/>
                    </a:cubicBezTo>
                    <a:cubicBezTo>
                      <a:pt x="40" y="17"/>
                      <a:pt x="37" y="18"/>
                      <a:pt x="36" y="17"/>
                    </a:cubicBezTo>
                    <a:close/>
                    <a:moveTo>
                      <a:pt x="20" y="30"/>
                    </a:moveTo>
                    <a:cubicBezTo>
                      <a:pt x="15" y="30"/>
                      <a:pt x="11" y="26"/>
                      <a:pt x="11" y="21"/>
                    </a:cubicBezTo>
                    <a:cubicBezTo>
                      <a:pt x="11" y="16"/>
                      <a:pt x="15" y="12"/>
                      <a:pt x="20" y="12"/>
                    </a:cubicBezTo>
                    <a:cubicBezTo>
                      <a:pt x="25" y="12"/>
                      <a:pt x="29" y="16"/>
                      <a:pt x="29" y="21"/>
                    </a:cubicBezTo>
                    <a:cubicBezTo>
                      <a:pt x="29" y="26"/>
                      <a:pt x="25" y="30"/>
                      <a:pt x="20" y="30"/>
                    </a:cubicBezTo>
                    <a:close/>
                  </a:path>
                </a:pathLst>
              </a:custGeom>
              <a:noFill/>
              <a:ln w="4" cap="rnd">
                <a:solidFill>
                  <a:schemeClr val="accent5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53" name="Freeform 529"/>
              <p:cNvSpPr>
                <a:spLocks noEditPoints="1"/>
              </p:cNvSpPr>
              <p:nvPr/>
            </p:nvSpPr>
            <p:spPr bwMode="auto">
              <a:xfrm>
                <a:off x="2749551" y="6107113"/>
                <a:ext cx="127000" cy="127000"/>
              </a:xfrm>
              <a:custGeom>
                <a:avLst/>
                <a:gdLst>
                  <a:gd name="T0" fmla="*/ 37 w 40"/>
                  <a:gd name="T1" fmla="*/ 17 h 40"/>
                  <a:gd name="T2" fmla="*/ 33 w 40"/>
                  <a:gd name="T3" fmla="*/ 10 h 40"/>
                  <a:gd name="T4" fmla="*/ 34 w 40"/>
                  <a:gd name="T5" fmla="*/ 6 h 40"/>
                  <a:gd name="T6" fmla="*/ 30 w 40"/>
                  <a:gd name="T7" fmla="*/ 7 h 40"/>
                  <a:gd name="T8" fmla="*/ 29 w 40"/>
                  <a:gd name="T9" fmla="*/ 7 h 40"/>
                  <a:gd name="T10" fmla="*/ 22 w 40"/>
                  <a:gd name="T11" fmla="*/ 2 h 40"/>
                  <a:gd name="T12" fmla="*/ 21 w 40"/>
                  <a:gd name="T13" fmla="*/ 0 h 40"/>
                  <a:gd name="T14" fmla="*/ 18 w 40"/>
                  <a:gd name="T15" fmla="*/ 1 h 40"/>
                  <a:gd name="T16" fmla="*/ 17 w 40"/>
                  <a:gd name="T17" fmla="*/ 5 h 40"/>
                  <a:gd name="T18" fmla="*/ 12 w 40"/>
                  <a:gd name="T19" fmla="*/ 7 h 40"/>
                  <a:gd name="T20" fmla="*/ 9 w 40"/>
                  <a:gd name="T21" fmla="*/ 5 h 40"/>
                  <a:gd name="T22" fmla="*/ 6 w 40"/>
                  <a:gd name="T23" fmla="*/ 6 h 40"/>
                  <a:gd name="T24" fmla="*/ 6 w 40"/>
                  <a:gd name="T25" fmla="*/ 9 h 40"/>
                  <a:gd name="T26" fmla="*/ 7 w 40"/>
                  <a:gd name="T27" fmla="*/ 12 h 40"/>
                  <a:gd name="T28" fmla="*/ 5 w 40"/>
                  <a:gd name="T29" fmla="*/ 17 h 40"/>
                  <a:gd name="T30" fmla="*/ 2 w 40"/>
                  <a:gd name="T31" fmla="*/ 18 h 40"/>
                  <a:gd name="T32" fmla="*/ 0 w 40"/>
                  <a:gd name="T33" fmla="*/ 20 h 40"/>
                  <a:gd name="T34" fmla="*/ 2 w 40"/>
                  <a:gd name="T35" fmla="*/ 22 h 40"/>
                  <a:gd name="T36" fmla="*/ 5 w 40"/>
                  <a:gd name="T37" fmla="*/ 23 h 40"/>
                  <a:gd name="T38" fmla="*/ 7 w 40"/>
                  <a:gd name="T39" fmla="*/ 28 h 40"/>
                  <a:gd name="T40" fmla="*/ 6 w 40"/>
                  <a:gd name="T41" fmla="*/ 31 h 40"/>
                  <a:gd name="T42" fmla="*/ 6 w 40"/>
                  <a:gd name="T43" fmla="*/ 34 h 40"/>
                  <a:gd name="T44" fmla="*/ 9 w 40"/>
                  <a:gd name="T45" fmla="*/ 34 h 40"/>
                  <a:gd name="T46" fmla="*/ 12 w 40"/>
                  <a:gd name="T47" fmla="*/ 33 h 40"/>
                  <a:gd name="T48" fmla="*/ 17 w 40"/>
                  <a:gd name="T49" fmla="*/ 35 h 40"/>
                  <a:gd name="T50" fmla="*/ 18 w 40"/>
                  <a:gd name="T51" fmla="*/ 38 h 40"/>
                  <a:gd name="T52" fmla="*/ 20 w 40"/>
                  <a:gd name="T53" fmla="*/ 40 h 40"/>
                  <a:gd name="T54" fmla="*/ 22 w 40"/>
                  <a:gd name="T55" fmla="*/ 38 h 40"/>
                  <a:gd name="T56" fmla="*/ 24 w 40"/>
                  <a:gd name="T57" fmla="*/ 35 h 40"/>
                  <a:gd name="T58" fmla="*/ 32 w 40"/>
                  <a:gd name="T59" fmla="*/ 34 h 40"/>
                  <a:gd name="T60" fmla="*/ 35 w 40"/>
                  <a:gd name="T61" fmla="*/ 34 h 40"/>
                  <a:gd name="T62" fmla="*/ 35 w 40"/>
                  <a:gd name="T63" fmla="*/ 30 h 40"/>
                  <a:gd name="T64" fmla="*/ 37 w 40"/>
                  <a:gd name="T65" fmla="*/ 22 h 40"/>
                  <a:gd name="T66" fmla="*/ 40 w 40"/>
                  <a:gd name="T67" fmla="*/ 20 h 40"/>
                  <a:gd name="T68" fmla="*/ 37 w 40"/>
                  <a:gd name="T69" fmla="*/ 17 h 40"/>
                  <a:gd name="T70" fmla="*/ 21 w 40"/>
                  <a:gd name="T71" fmla="*/ 30 h 40"/>
                  <a:gd name="T72" fmla="*/ 12 w 40"/>
                  <a:gd name="T73" fmla="*/ 21 h 40"/>
                  <a:gd name="T74" fmla="*/ 21 w 40"/>
                  <a:gd name="T75" fmla="*/ 12 h 40"/>
                  <a:gd name="T76" fmla="*/ 30 w 40"/>
                  <a:gd name="T77" fmla="*/ 21 h 40"/>
                  <a:gd name="T78" fmla="*/ 21 w 40"/>
                  <a:gd name="T79" fmla="*/ 30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40" h="40">
                    <a:moveTo>
                      <a:pt x="37" y="17"/>
                    </a:moveTo>
                    <a:cubicBezTo>
                      <a:pt x="34" y="16"/>
                      <a:pt x="32" y="12"/>
                      <a:pt x="33" y="10"/>
                    </a:cubicBezTo>
                    <a:cubicBezTo>
                      <a:pt x="34" y="8"/>
                      <a:pt x="35" y="7"/>
                      <a:pt x="34" y="6"/>
                    </a:cubicBezTo>
                    <a:cubicBezTo>
                      <a:pt x="32" y="4"/>
                      <a:pt x="31" y="6"/>
                      <a:pt x="30" y="7"/>
                    </a:cubicBezTo>
                    <a:cubicBezTo>
                      <a:pt x="30" y="7"/>
                      <a:pt x="29" y="7"/>
                      <a:pt x="29" y="7"/>
                    </a:cubicBezTo>
                    <a:cubicBezTo>
                      <a:pt x="27" y="7"/>
                      <a:pt x="22" y="6"/>
                      <a:pt x="22" y="2"/>
                    </a:cubicBezTo>
                    <a:cubicBezTo>
                      <a:pt x="22" y="0"/>
                      <a:pt x="22" y="0"/>
                      <a:pt x="21" y="0"/>
                    </a:cubicBezTo>
                    <a:cubicBezTo>
                      <a:pt x="19" y="0"/>
                      <a:pt x="19" y="0"/>
                      <a:pt x="18" y="1"/>
                    </a:cubicBezTo>
                    <a:cubicBezTo>
                      <a:pt x="18" y="3"/>
                      <a:pt x="18" y="4"/>
                      <a:pt x="17" y="5"/>
                    </a:cubicBezTo>
                    <a:cubicBezTo>
                      <a:pt x="16" y="6"/>
                      <a:pt x="14" y="7"/>
                      <a:pt x="12" y="7"/>
                    </a:cubicBezTo>
                    <a:cubicBezTo>
                      <a:pt x="11" y="7"/>
                      <a:pt x="10" y="6"/>
                      <a:pt x="9" y="5"/>
                    </a:cubicBezTo>
                    <a:cubicBezTo>
                      <a:pt x="8" y="5"/>
                      <a:pt x="7" y="5"/>
                      <a:pt x="6" y="6"/>
                    </a:cubicBezTo>
                    <a:cubicBezTo>
                      <a:pt x="5" y="7"/>
                      <a:pt x="5" y="8"/>
                      <a:pt x="6" y="9"/>
                    </a:cubicBezTo>
                    <a:cubicBezTo>
                      <a:pt x="6" y="10"/>
                      <a:pt x="7" y="11"/>
                      <a:pt x="7" y="12"/>
                    </a:cubicBezTo>
                    <a:cubicBezTo>
                      <a:pt x="7" y="13"/>
                      <a:pt x="6" y="15"/>
                      <a:pt x="5" y="17"/>
                    </a:cubicBezTo>
                    <a:cubicBezTo>
                      <a:pt x="5" y="17"/>
                      <a:pt x="3" y="18"/>
                      <a:pt x="2" y="18"/>
                    </a:cubicBezTo>
                    <a:cubicBezTo>
                      <a:pt x="1" y="18"/>
                      <a:pt x="0" y="19"/>
                      <a:pt x="0" y="20"/>
                    </a:cubicBezTo>
                    <a:cubicBezTo>
                      <a:pt x="0" y="21"/>
                      <a:pt x="1" y="22"/>
                      <a:pt x="2" y="22"/>
                    </a:cubicBezTo>
                    <a:cubicBezTo>
                      <a:pt x="3" y="22"/>
                      <a:pt x="5" y="22"/>
                      <a:pt x="5" y="23"/>
                    </a:cubicBezTo>
                    <a:cubicBezTo>
                      <a:pt x="6" y="25"/>
                      <a:pt x="7" y="26"/>
                      <a:pt x="7" y="28"/>
                    </a:cubicBezTo>
                    <a:cubicBezTo>
                      <a:pt x="7" y="29"/>
                      <a:pt x="6" y="30"/>
                      <a:pt x="6" y="31"/>
                    </a:cubicBezTo>
                    <a:cubicBezTo>
                      <a:pt x="5" y="32"/>
                      <a:pt x="5" y="33"/>
                      <a:pt x="6" y="34"/>
                    </a:cubicBezTo>
                    <a:cubicBezTo>
                      <a:pt x="7" y="35"/>
                      <a:pt x="8" y="35"/>
                      <a:pt x="9" y="34"/>
                    </a:cubicBezTo>
                    <a:cubicBezTo>
                      <a:pt x="10" y="34"/>
                      <a:pt x="11" y="33"/>
                      <a:pt x="12" y="33"/>
                    </a:cubicBezTo>
                    <a:cubicBezTo>
                      <a:pt x="14" y="33"/>
                      <a:pt x="15" y="34"/>
                      <a:pt x="17" y="35"/>
                    </a:cubicBezTo>
                    <a:cubicBezTo>
                      <a:pt x="18" y="36"/>
                      <a:pt x="18" y="37"/>
                      <a:pt x="18" y="38"/>
                    </a:cubicBezTo>
                    <a:cubicBezTo>
                      <a:pt x="18" y="39"/>
                      <a:pt x="18" y="40"/>
                      <a:pt x="20" y="40"/>
                    </a:cubicBezTo>
                    <a:cubicBezTo>
                      <a:pt x="21" y="40"/>
                      <a:pt x="22" y="40"/>
                      <a:pt x="22" y="38"/>
                    </a:cubicBezTo>
                    <a:cubicBezTo>
                      <a:pt x="23" y="37"/>
                      <a:pt x="23" y="35"/>
                      <a:pt x="24" y="35"/>
                    </a:cubicBezTo>
                    <a:cubicBezTo>
                      <a:pt x="27" y="34"/>
                      <a:pt x="29" y="32"/>
                      <a:pt x="32" y="34"/>
                    </a:cubicBezTo>
                    <a:cubicBezTo>
                      <a:pt x="32" y="34"/>
                      <a:pt x="33" y="35"/>
                      <a:pt x="35" y="34"/>
                    </a:cubicBezTo>
                    <a:cubicBezTo>
                      <a:pt x="36" y="32"/>
                      <a:pt x="35" y="31"/>
                      <a:pt x="35" y="30"/>
                    </a:cubicBezTo>
                    <a:cubicBezTo>
                      <a:pt x="32" y="27"/>
                      <a:pt x="34" y="22"/>
                      <a:pt x="37" y="22"/>
                    </a:cubicBezTo>
                    <a:cubicBezTo>
                      <a:pt x="39" y="22"/>
                      <a:pt x="40" y="22"/>
                      <a:pt x="40" y="20"/>
                    </a:cubicBezTo>
                    <a:cubicBezTo>
                      <a:pt x="40" y="17"/>
                      <a:pt x="38" y="18"/>
                      <a:pt x="37" y="17"/>
                    </a:cubicBezTo>
                    <a:close/>
                    <a:moveTo>
                      <a:pt x="21" y="30"/>
                    </a:moveTo>
                    <a:cubicBezTo>
                      <a:pt x="16" y="30"/>
                      <a:pt x="12" y="26"/>
                      <a:pt x="12" y="21"/>
                    </a:cubicBezTo>
                    <a:cubicBezTo>
                      <a:pt x="12" y="16"/>
                      <a:pt x="16" y="12"/>
                      <a:pt x="21" y="12"/>
                    </a:cubicBezTo>
                    <a:cubicBezTo>
                      <a:pt x="26" y="12"/>
                      <a:pt x="30" y="16"/>
                      <a:pt x="30" y="21"/>
                    </a:cubicBezTo>
                    <a:cubicBezTo>
                      <a:pt x="30" y="26"/>
                      <a:pt x="26" y="30"/>
                      <a:pt x="21" y="30"/>
                    </a:cubicBezTo>
                    <a:close/>
                  </a:path>
                </a:pathLst>
              </a:custGeom>
              <a:noFill/>
              <a:ln w="4" cap="rnd">
                <a:solidFill>
                  <a:schemeClr val="accent5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54" name="Freeform 530"/>
              <p:cNvSpPr>
                <a:spLocks noEditPoints="1"/>
              </p:cNvSpPr>
              <p:nvPr/>
            </p:nvSpPr>
            <p:spPr bwMode="auto">
              <a:xfrm>
                <a:off x="2679701" y="5859463"/>
                <a:ext cx="225425" cy="228600"/>
              </a:xfrm>
              <a:custGeom>
                <a:avLst/>
                <a:gdLst>
                  <a:gd name="T0" fmla="*/ 66 w 71"/>
                  <a:gd name="T1" fmla="*/ 31 h 72"/>
                  <a:gd name="T2" fmla="*/ 59 w 71"/>
                  <a:gd name="T3" fmla="*/ 18 h 72"/>
                  <a:gd name="T4" fmla="*/ 60 w 71"/>
                  <a:gd name="T5" fmla="*/ 11 h 72"/>
                  <a:gd name="T6" fmla="*/ 53 w 71"/>
                  <a:gd name="T7" fmla="*/ 12 h 72"/>
                  <a:gd name="T8" fmla="*/ 51 w 71"/>
                  <a:gd name="T9" fmla="*/ 13 h 72"/>
                  <a:gd name="T10" fmla="*/ 39 w 71"/>
                  <a:gd name="T11" fmla="*/ 3 h 72"/>
                  <a:gd name="T12" fmla="*/ 36 w 71"/>
                  <a:gd name="T13" fmla="*/ 1 h 72"/>
                  <a:gd name="T14" fmla="*/ 32 w 71"/>
                  <a:gd name="T15" fmla="*/ 3 h 72"/>
                  <a:gd name="T16" fmla="*/ 30 w 71"/>
                  <a:gd name="T17" fmla="*/ 9 h 72"/>
                  <a:gd name="T18" fmla="*/ 21 w 71"/>
                  <a:gd name="T19" fmla="*/ 13 h 72"/>
                  <a:gd name="T20" fmla="*/ 15 w 71"/>
                  <a:gd name="T21" fmla="*/ 10 h 72"/>
                  <a:gd name="T22" fmla="*/ 10 w 71"/>
                  <a:gd name="T23" fmla="*/ 11 h 72"/>
                  <a:gd name="T24" fmla="*/ 10 w 71"/>
                  <a:gd name="T25" fmla="*/ 16 h 72"/>
                  <a:gd name="T26" fmla="*/ 13 w 71"/>
                  <a:gd name="T27" fmla="*/ 21 h 72"/>
                  <a:gd name="T28" fmla="*/ 9 w 71"/>
                  <a:gd name="T29" fmla="*/ 30 h 72"/>
                  <a:gd name="T30" fmla="*/ 3 w 71"/>
                  <a:gd name="T31" fmla="*/ 32 h 72"/>
                  <a:gd name="T32" fmla="*/ 0 w 71"/>
                  <a:gd name="T33" fmla="*/ 36 h 72"/>
                  <a:gd name="T34" fmla="*/ 3 w 71"/>
                  <a:gd name="T35" fmla="*/ 40 h 72"/>
                  <a:gd name="T36" fmla="*/ 9 w 71"/>
                  <a:gd name="T37" fmla="*/ 42 h 72"/>
                  <a:gd name="T38" fmla="*/ 13 w 71"/>
                  <a:gd name="T39" fmla="*/ 51 h 72"/>
                  <a:gd name="T40" fmla="*/ 10 w 71"/>
                  <a:gd name="T41" fmla="*/ 56 h 72"/>
                  <a:gd name="T42" fmla="*/ 10 w 71"/>
                  <a:gd name="T43" fmla="*/ 62 h 72"/>
                  <a:gd name="T44" fmla="*/ 16 w 71"/>
                  <a:gd name="T45" fmla="*/ 62 h 72"/>
                  <a:gd name="T46" fmla="*/ 21 w 71"/>
                  <a:gd name="T47" fmla="*/ 59 h 72"/>
                  <a:gd name="T48" fmla="*/ 30 w 71"/>
                  <a:gd name="T49" fmla="*/ 63 h 72"/>
                  <a:gd name="T50" fmla="*/ 32 w 71"/>
                  <a:gd name="T51" fmla="*/ 69 h 72"/>
                  <a:gd name="T52" fmla="*/ 35 w 71"/>
                  <a:gd name="T53" fmla="*/ 72 h 72"/>
                  <a:gd name="T54" fmla="*/ 40 w 71"/>
                  <a:gd name="T55" fmla="*/ 69 h 72"/>
                  <a:gd name="T56" fmla="*/ 42 w 71"/>
                  <a:gd name="T57" fmla="*/ 63 h 72"/>
                  <a:gd name="T58" fmla="*/ 56 w 71"/>
                  <a:gd name="T59" fmla="*/ 61 h 72"/>
                  <a:gd name="T60" fmla="*/ 62 w 71"/>
                  <a:gd name="T61" fmla="*/ 61 h 72"/>
                  <a:gd name="T62" fmla="*/ 61 w 71"/>
                  <a:gd name="T63" fmla="*/ 54 h 72"/>
                  <a:gd name="T64" fmla="*/ 65 w 71"/>
                  <a:gd name="T65" fmla="*/ 40 h 72"/>
                  <a:gd name="T66" fmla="*/ 71 w 71"/>
                  <a:gd name="T67" fmla="*/ 36 h 72"/>
                  <a:gd name="T68" fmla="*/ 66 w 71"/>
                  <a:gd name="T69" fmla="*/ 31 h 72"/>
                  <a:gd name="T70" fmla="*/ 36 w 71"/>
                  <a:gd name="T71" fmla="*/ 54 h 72"/>
                  <a:gd name="T72" fmla="*/ 20 w 71"/>
                  <a:gd name="T73" fmla="*/ 37 h 72"/>
                  <a:gd name="T74" fmla="*/ 37 w 71"/>
                  <a:gd name="T75" fmla="*/ 21 h 72"/>
                  <a:gd name="T76" fmla="*/ 53 w 71"/>
                  <a:gd name="T77" fmla="*/ 38 h 72"/>
                  <a:gd name="T78" fmla="*/ 36 w 71"/>
                  <a:gd name="T79" fmla="*/ 54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71" h="72">
                    <a:moveTo>
                      <a:pt x="66" y="31"/>
                    </a:moveTo>
                    <a:cubicBezTo>
                      <a:pt x="61" y="30"/>
                      <a:pt x="57" y="22"/>
                      <a:pt x="59" y="18"/>
                    </a:cubicBezTo>
                    <a:cubicBezTo>
                      <a:pt x="61" y="14"/>
                      <a:pt x="62" y="13"/>
                      <a:pt x="60" y="11"/>
                    </a:cubicBezTo>
                    <a:cubicBezTo>
                      <a:pt x="57" y="8"/>
                      <a:pt x="55" y="11"/>
                      <a:pt x="53" y="12"/>
                    </a:cubicBezTo>
                    <a:cubicBezTo>
                      <a:pt x="52" y="13"/>
                      <a:pt x="51" y="13"/>
                      <a:pt x="51" y="13"/>
                    </a:cubicBezTo>
                    <a:cubicBezTo>
                      <a:pt x="47" y="14"/>
                      <a:pt x="39" y="11"/>
                      <a:pt x="39" y="3"/>
                    </a:cubicBezTo>
                    <a:cubicBezTo>
                      <a:pt x="39" y="1"/>
                      <a:pt x="38" y="0"/>
                      <a:pt x="36" y="1"/>
                    </a:cubicBezTo>
                    <a:cubicBezTo>
                      <a:pt x="34" y="1"/>
                      <a:pt x="33" y="1"/>
                      <a:pt x="32" y="3"/>
                    </a:cubicBezTo>
                    <a:cubicBezTo>
                      <a:pt x="32" y="5"/>
                      <a:pt x="31" y="8"/>
                      <a:pt x="30" y="9"/>
                    </a:cubicBezTo>
                    <a:cubicBezTo>
                      <a:pt x="28" y="11"/>
                      <a:pt x="24" y="13"/>
                      <a:pt x="21" y="13"/>
                    </a:cubicBezTo>
                    <a:cubicBezTo>
                      <a:pt x="19" y="13"/>
                      <a:pt x="17" y="12"/>
                      <a:pt x="15" y="10"/>
                    </a:cubicBezTo>
                    <a:cubicBezTo>
                      <a:pt x="13" y="9"/>
                      <a:pt x="12" y="9"/>
                      <a:pt x="10" y="11"/>
                    </a:cubicBezTo>
                    <a:cubicBezTo>
                      <a:pt x="8" y="13"/>
                      <a:pt x="9" y="14"/>
                      <a:pt x="10" y="16"/>
                    </a:cubicBezTo>
                    <a:cubicBezTo>
                      <a:pt x="11" y="18"/>
                      <a:pt x="13" y="20"/>
                      <a:pt x="13" y="21"/>
                    </a:cubicBezTo>
                    <a:cubicBezTo>
                      <a:pt x="12" y="25"/>
                      <a:pt x="11" y="28"/>
                      <a:pt x="9" y="30"/>
                    </a:cubicBezTo>
                    <a:cubicBezTo>
                      <a:pt x="8" y="32"/>
                      <a:pt x="5" y="32"/>
                      <a:pt x="3" y="32"/>
                    </a:cubicBezTo>
                    <a:cubicBezTo>
                      <a:pt x="1" y="33"/>
                      <a:pt x="0" y="34"/>
                      <a:pt x="0" y="36"/>
                    </a:cubicBezTo>
                    <a:cubicBezTo>
                      <a:pt x="0" y="39"/>
                      <a:pt x="1" y="40"/>
                      <a:pt x="3" y="40"/>
                    </a:cubicBezTo>
                    <a:cubicBezTo>
                      <a:pt x="5" y="40"/>
                      <a:pt x="8" y="41"/>
                      <a:pt x="9" y="42"/>
                    </a:cubicBezTo>
                    <a:cubicBezTo>
                      <a:pt x="11" y="45"/>
                      <a:pt x="12" y="48"/>
                      <a:pt x="13" y="51"/>
                    </a:cubicBezTo>
                    <a:cubicBezTo>
                      <a:pt x="13" y="53"/>
                      <a:pt x="11" y="55"/>
                      <a:pt x="10" y="56"/>
                    </a:cubicBezTo>
                    <a:cubicBezTo>
                      <a:pt x="9" y="58"/>
                      <a:pt x="8" y="60"/>
                      <a:pt x="10" y="62"/>
                    </a:cubicBezTo>
                    <a:cubicBezTo>
                      <a:pt x="12" y="64"/>
                      <a:pt x="14" y="63"/>
                      <a:pt x="16" y="62"/>
                    </a:cubicBezTo>
                    <a:cubicBezTo>
                      <a:pt x="17" y="61"/>
                      <a:pt x="19" y="59"/>
                      <a:pt x="21" y="59"/>
                    </a:cubicBezTo>
                    <a:cubicBezTo>
                      <a:pt x="24" y="60"/>
                      <a:pt x="27" y="61"/>
                      <a:pt x="30" y="63"/>
                    </a:cubicBezTo>
                    <a:cubicBezTo>
                      <a:pt x="31" y="64"/>
                      <a:pt x="31" y="67"/>
                      <a:pt x="32" y="69"/>
                    </a:cubicBezTo>
                    <a:cubicBezTo>
                      <a:pt x="32" y="71"/>
                      <a:pt x="32" y="72"/>
                      <a:pt x="35" y="72"/>
                    </a:cubicBezTo>
                    <a:cubicBezTo>
                      <a:pt x="38" y="72"/>
                      <a:pt x="39" y="72"/>
                      <a:pt x="40" y="69"/>
                    </a:cubicBezTo>
                    <a:cubicBezTo>
                      <a:pt x="40" y="67"/>
                      <a:pt x="41" y="64"/>
                      <a:pt x="42" y="63"/>
                    </a:cubicBezTo>
                    <a:cubicBezTo>
                      <a:pt x="47" y="61"/>
                      <a:pt x="51" y="57"/>
                      <a:pt x="56" y="61"/>
                    </a:cubicBezTo>
                    <a:cubicBezTo>
                      <a:pt x="56" y="62"/>
                      <a:pt x="59" y="64"/>
                      <a:pt x="62" y="61"/>
                    </a:cubicBezTo>
                    <a:cubicBezTo>
                      <a:pt x="64" y="58"/>
                      <a:pt x="63" y="56"/>
                      <a:pt x="61" y="54"/>
                    </a:cubicBezTo>
                    <a:cubicBezTo>
                      <a:pt x="57" y="49"/>
                      <a:pt x="61" y="40"/>
                      <a:pt x="65" y="40"/>
                    </a:cubicBezTo>
                    <a:cubicBezTo>
                      <a:pt x="70" y="40"/>
                      <a:pt x="71" y="39"/>
                      <a:pt x="71" y="36"/>
                    </a:cubicBezTo>
                    <a:cubicBezTo>
                      <a:pt x="71" y="32"/>
                      <a:pt x="67" y="32"/>
                      <a:pt x="66" y="31"/>
                    </a:cubicBezTo>
                    <a:close/>
                    <a:moveTo>
                      <a:pt x="36" y="54"/>
                    </a:moveTo>
                    <a:cubicBezTo>
                      <a:pt x="27" y="54"/>
                      <a:pt x="20" y="46"/>
                      <a:pt x="20" y="37"/>
                    </a:cubicBezTo>
                    <a:cubicBezTo>
                      <a:pt x="20" y="29"/>
                      <a:pt x="28" y="21"/>
                      <a:pt x="37" y="21"/>
                    </a:cubicBezTo>
                    <a:cubicBezTo>
                      <a:pt x="45" y="21"/>
                      <a:pt x="53" y="29"/>
                      <a:pt x="53" y="38"/>
                    </a:cubicBezTo>
                    <a:cubicBezTo>
                      <a:pt x="53" y="47"/>
                      <a:pt x="45" y="54"/>
                      <a:pt x="36" y="54"/>
                    </a:cubicBezTo>
                    <a:close/>
                  </a:path>
                </a:pathLst>
              </a:custGeom>
              <a:noFill/>
              <a:ln w="4" cap="rnd">
                <a:solidFill>
                  <a:schemeClr val="accent5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latin typeface="Arial" pitchFamily="34" charset="0"/>
                  <a:cs typeface="Arial" pitchFamily="34" charset="0"/>
                </a:endParaRPr>
              </a:p>
            </p:txBody>
          </p:sp>
        </p:grpSp>
        <p:grpSp>
          <p:nvGrpSpPr>
            <p:cNvPr id="136" name="Group 44"/>
            <p:cNvGrpSpPr/>
            <p:nvPr/>
          </p:nvGrpSpPr>
          <p:grpSpPr>
            <a:xfrm>
              <a:off x="5434484" y="1727208"/>
              <a:ext cx="290294" cy="271509"/>
              <a:chOff x="2497138" y="5654676"/>
              <a:chExt cx="700088" cy="700088"/>
            </a:xfrm>
          </p:grpSpPr>
          <p:sp>
            <p:nvSpPr>
              <p:cNvPr id="147" name="Freeform 527"/>
              <p:cNvSpPr>
                <a:spLocks noEditPoints="1"/>
              </p:cNvSpPr>
              <p:nvPr/>
            </p:nvSpPr>
            <p:spPr bwMode="auto">
              <a:xfrm>
                <a:off x="2497138" y="5654676"/>
                <a:ext cx="700088" cy="700088"/>
              </a:xfrm>
              <a:custGeom>
                <a:avLst/>
                <a:gdLst>
                  <a:gd name="T0" fmla="*/ 122 w 220"/>
                  <a:gd name="T1" fmla="*/ 220 h 220"/>
                  <a:gd name="T2" fmla="*/ 41 w 220"/>
                  <a:gd name="T3" fmla="*/ 220 h 220"/>
                  <a:gd name="T4" fmla="*/ 0 w 220"/>
                  <a:gd name="T5" fmla="*/ 178 h 220"/>
                  <a:gd name="T6" fmla="*/ 0 w 220"/>
                  <a:gd name="T7" fmla="*/ 41 h 220"/>
                  <a:gd name="T8" fmla="*/ 41 w 220"/>
                  <a:gd name="T9" fmla="*/ 0 h 220"/>
                  <a:gd name="T10" fmla="*/ 179 w 220"/>
                  <a:gd name="T11" fmla="*/ 0 h 220"/>
                  <a:gd name="T12" fmla="*/ 220 w 220"/>
                  <a:gd name="T13" fmla="*/ 41 h 220"/>
                  <a:gd name="T14" fmla="*/ 220 w 220"/>
                  <a:gd name="T15" fmla="*/ 178 h 220"/>
                  <a:gd name="T16" fmla="*/ 179 w 220"/>
                  <a:gd name="T17" fmla="*/ 220 h 220"/>
                  <a:gd name="T18" fmla="*/ 160 w 220"/>
                  <a:gd name="T19" fmla="*/ 220 h 220"/>
                  <a:gd name="T20" fmla="*/ 41 w 220"/>
                  <a:gd name="T21" fmla="*/ 13 h 220"/>
                  <a:gd name="T22" fmla="*/ 27 w 220"/>
                  <a:gd name="T23" fmla="*/ 27 h 220"/>
                  <a:gd name="T24" fmla="*/ 41 w 220"/>
                  <a:gd name="T25" fmla="*/ 41 h 220"/>
                  <a:gd name="T26" fmla="*/ 55 w 220"/>
                  <a:gd name="T27" fmla="*/ 27 h 220"/>
                  <a:gd name="T28" fmla="*/ 41 w 220"/>
                  <a:gd name="T29" fmla="*/ 13 h 220"/>
                  <a:gd name="T30" fmla="*/ 192 w 220"/>
                  <a:gd name="T31" fmla="*/ 55 h 220"/>
                  <a:gd name="T32" fmla="*/ 27 w 220"/>
                  <a:gd name="T33" fmla="*/ 55 h 220"/>
                  <a:gd name="T34" fmla="*/ 27 w 220"/>
                  <a:gd name="T35" fmla="*/ 178 h 220"/>
                  <a:gd name="T36" fmla="*/ 41 w 220"/>
                  <a:gd name="T37" fmla="*/ 192 h 220"/>
                  <a:gd name="T38" fmla="*/ 179 w 220"/>
                  <a:gd name="T39" fmla="*/ 192 h 220"/>
                  <a:gd name="T40" fmla="*/ 192 w 220"/>
                  <a:gd name="T41" fmla="*/ 178 h 220"/>
                  <a:gd name="T42" fmla="*/ 192 w 220"/>
                  <a:gd name="T43" fmla="*/ 55 h 2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220" h="220">
                    <a:moveTo>
                      <a:pt x="122" y="220"/>
                    </a:moveTo>
                    <a:cubicBezTo>
                      <a:pt x="41" y="220"/>
                      <a:pt x="41" y="220"/>
                      <a:pt x="41" y="220"/>
                    </a:cubicBezTo>
                    <a:cubicBezTo>
                      <a:pt x="18" y="220"/>
                      <a:pt x="0" y="201"/>
                      <a:pt x="0" y="178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18"/>
                      <a:pt x="18" y="0"/>
                      <a:pt x="41" y="0"/>
                    </a:cubicBezTo>
                    <a:cubicBezTo>
                      <a:pt x="179" y="0"/>
                      <a:pt x="179" y="0"/>
                      <a:pt x="179" y="0"/>
                    </a:cubicBezTo>
                    <a:cubicBezTo>
                      <a:pt x="201" y="0"/>
                      <a:pt x="220" y="18"/>
                      <a:pt x="220" y="41"/>
                    </a:cubicBezTo>
                    <a:cubicBezTo>
                      <a:pt x="220" y="178"/>
                      <a:pt x="220" y="178"/>
                      <a:pt x="220" y="178"/>
                    </a:cubicBezTo>
                    <a:cubicBezTo>
                      <a:pt x="220" y="201"/>
                      <a:pt x="201" y="220"/>
                      <a:pt x="179" y="220"/>
                    </a:cubicBezTo>
                    <a:cubicBezTo>
                      <a:pt x="160" y="220"/>
                      <a:pt x="160" y="220"/>
                      <a:pt x="160" y="220"/>
                    </a:cubicBezTo>
                    <a:moveTo>
                      <a:pt x="41" y="13"/>
                    </a:moveTo>
                    <a:cubicBezTo>
                      <a:pt x="33" y="13"/>
                      <a:pt x="27" y="19"/>
                      <a:pt x="27" y="27"/>
                    </a:cubicBezTo>
                    <a:cubicBezTo>
                      <a:pt x="27" y="35"/>
                      <a:pt x="33" y="41"/>
                      <a:pt x="41" y="41"/>
                    </a:cubicBezTo>
                    <a:cubicBezTo>
                      <a:pt x="49" y="41"/>
                      <a:pt x="55" y="35"/>
                      <a:pt x="55" y="27"/>
                    </a:cubicBezTo>
                    <a:cubicBezTo>
                      <a:pt x="55" y="19"/>
                      <a:pt x="49" y="13"/>
                      <a:pt x="41" y="13"/>
                    </a:cubicBezTo>
                    <a:close/>
                    <a:moveTo>
                      <a:pt x="192" y="55"/>
                    </a:moveTo>
                    <a:cubicBezTo>
                      <a:pt x="27" y="55"/>
                      <a:pt x="27" y="55"/>
                      <a:pt x="27" y="55"/>
                    </a:cubicBezTo>
                    <a:cubicBezTo>
                      <a:pt x="27" y="178"/>
                      <a:pt x="27" y="178"/>
                      <a:pt x="27" y="178"/>
                    </a:cubicBezTo>
                    <a:cubicBezTo>
                      <a:pt x="27" y="186"/>
                      <a:pt x="33" y="192"/>
                      <a:pt x="41" y="192"/>
                    </a:cubicBezTo>
                    <a:cubicBezTo>
                      <a:pt x="179" y="192"/>
                      <a:pt x="179" y="192"/>
                      <a:pt x="179" y="192"/>
                    </a:cubicBezTo>
                    <a:cubicBezTo>
                      <a:pt x="186" y="192"/>
                      <a:pt x="192" y="186"/>
                      <a:pt x="192" y="178"/>
                    </a:cubicBezTo>
                    <a:lnTo>
                      <a:pt x="192" y="55"/>
                    </a:lnTo>
                    <a:close/>
                  </a:path>
                </a:pathLst>
              </a:custGeom>
              <a:noFill/>
              <a:ln w="8" cap="rnd">
                <a:solidFill>
                  <a:schemeClr val="accent5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48" name="Freeform 528"/>
              <p:cNvSpPr>
                <a:spLocks noEditPoints="1"/>
              </p:cNvSpPr>
              <p:nvPr/>
            </p:nvSpPr>
            <p:spPr bwMode="auto">
              <a:xfrm>
                <a:off x="2921001" y="5875338"/>
                <a:ext cx="127000" cy="127000"/>
              </a:xfrm>
              <a:custGeom>
                <a:avLst/>
                <a:gdLst>
                  <a:gd name="T0" fmla="*/ 36 w 40"/>
                  <a:gd name="T1" fmla="*/ 17 h 40"/>
                  <a:gd name="T2" fmla="*/ 33 w 40"/>
                  <a:gd name="T3" fmla="*/ 10 h 40"/>
                  <a:gd name="T4" fmla="*/ 33 w 40"/>
                  <a:gd name="T5" fmla="*/ 6 h 40"/>
                  <a:gd name="T6" fmla="*/ 29 w 40"/>
                  <a:gd name="T7" fmla="*/ 7 h 40"/>
                  <a:gd name="T8" fmla="*/ 28 w 40"/>
                  <a:gd name="T9" fmla="*/ 7 h 40"/>
                  <a:gd name="T10" fmla="*/ 22 w 40"/>
                  <a:gd name="T11" fmla="*/ 2 h 40"/>
                  <a:gd name="T12" fmla="*/ 20 w 40"/>
                  <a:gd name="T13" fmla="*/ 0 h 40"/>
                  <a:gd name="T14" fmla="*/ 18 w 40"/>
                  <a:gd name="T15" fmla="*/ 1 h 40"/>
                  <a:gd name="T16" fmla="*/ 16 w 40"/>
                  <a:gd name="T17" fmla="*/ 5 h 40"/>
                  <a:gd name="T18" fmla="*/ 11 w 40"/>
                  <a:gd name="T19" fmla="*/ 7 h 40"/>
                  <a:gd name="T20" fmla="*/ 8 w 40"/>
                  <a:gd name="T21" fmla="*/ 6 h 40"/>
                  <a:gd name="T22" fmla="*/ 5 w 40"/>
                  <a:gd name="T23" fmla="*/ 6 h 40"/>
                  <a:gd name="T24" fmla="*/ 5 w 40"/>
                  <a:gd name="T25" fmla="*/ 9 h 40"/>
                  <a:gd name="T26" fmla="*/ 7 w 40"/>
                  <a:gd name="T27" fmla="*/ 12 h 40"/>
                  <a:gd name="T28" fmla="*/ 5 w 40"/>
                  <a:gd name="T29" fmla="*/ 17 h 40"/>
                  <a:gd name="T30" fmla="*/ 1 w 40"/>
                  <a:gd name="T31" fmla="*/ 18 h 40"/>
                  <a:gd name="T32" fmla="*/ 0 w 40"/>
                  <a:gd name="T33" fmla="*/ 20 h 40"/>
                  <a:gd name="T34" fmla="*/ 2 w 40"/>
                  <a:gd name="T35" fmla="*/ 22 h 40"/>
                  <a:gd name="T36" fmla="*/ 5 w 40"/>
                  <a:gd name="T37" fmla="*/ 23 h 40"/>
                  <a:gd name="T38" fmla="*/ 7 w 40"/>
                  <a:gd name="T39" fmla="*/ 28 h 40"/>
                  <a:gd name="T40" fmla="*/ 5 w 40"/>
                  <a:gd name="T41" fmla="*/ 31 h 40"/>
                  <a:gd name="T42" fmla="*/ 6 w 40"/>
                  <a:gd name="T43" fmla="*/ 34 h 40"/>
                  <a:gd name="T44" fmla="*/ 9 w 40"/>
                  <a:gd name="T45" fmla="*/ 34 h 40"/>
                  <a:gd name="T46" fmla="*/ 11 w 40"/>
                  <a:gd name="T47" fmla="*/ 33 h 40"/>
                  <a:gd name="T48" fmla="*/ 16 w 40"/>
                  <a:gd name="T49" fmla="*/ 35 h 40"/>
                  <a:gd name="T50" fmla="*/ 18 w 40"/>
                  <a:gd name="T51" fmla="*/ 38 h 40"/>
                  <a:gd name="T52" fmla="*/ 19 w 40"/>
                  <a:gd name="T53" fmla="*/ 40 h 40"/>
                  <a:gd name="T54" fmla="*/ 22 w 40"/>
                  <a:gd name="T55" fmla="*/ 38 h 40"/>
                  <a:gd name="T56" fmla="*/ 23 w 40"/>
                  <a:gd name="T57" fmla="*/ 35 h 40"/>
                  <a:gd name="T58" fmla="*/ 31 w 40"/>
                  <a:gd name="T59" fmla="*/ 34 h 40"/>
                  <a:gd name="T60" fmla="*/ 34 w 40"/>
                  <a:gd name="T61" fmla="*/ 34 h 40"/>
                  <a:gd name="T62" fmla="*/ 34 w 40"/>
                  <a:gd name="T63" fmla="*/ 30 h 40"/>
                  <a:gd name="T64" fmla="*/ 36 w 40"/>
                  <a:gd name="T65" fmla="*/ 22 h 40"/>
                  <a:gd name="T66" fmla="*/ 40 w 40"/>
                  <a:gd name="T67" fmla="*/ 20 h 40"/>
                  <a:gd name="T68" fmla="*/ 36 w 40"/>
                  <a:gd name="T69" fmla="*/ 17 h 40"/>
                  <a:gd name="T70" fmla="*/ 20 w 40"/>
                  <a:gd name="T71" fmla="*/ 30 h 40"/>
                  <a:gd name="T72" fmla="*/ 11 w 40"/>
                  <a:gd name="T73" fmla="*/ 21 h 40"/>
                  <a:gd name="T74" fmla="*/ 20 w 40"/>
                  <a:gd name="T75" fmla="*/ 12 h 40"/>
                  <a:gd name="T76" fmla="*/ 29 w 40"/>
                  <a:gd name="T77" fmla="*/ 21 h 40"/>
                  <a:gd name="T78" fmla="*/ 20 w 40"/>
                  <a:gd name="T79" fmla="*/ 30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40" h="40">
                    <a:moveTo>
                      <a:pt x="36" y="17"/>
                    </a:moveTo>
                    <a:cubicBezTo>
                      <a:pt x="34" y="16"/>
                      <a:pt x="32" y="12"/>
                      <a:pt x="33" y="10"/>
                    </a:cubicBezTo>
                    <a:cubicBezTo>
                      <a:pt x="34" y="8"/>
                      <a:pt x="35" y="7"/>
                      <a:pt x="33" y="6"/>
                    </a:cubicBezTo>
                    <a:cubicBezTo>
                      <a:pt x="32" y="4"/>
                      <a:pt x="31" y="6"/>
                      <a:pt x="29" y="7"/>
                    </a:cubicBezTo>
                    <a:cubicBezTo>
                      <a:pt x="29" y="7"/>
                      <a:pt x="28" y="7"/>
                      <a:pt x="28" y="7"/>
                    </a:cubicBezTo>
                    <a:cubicBezTo>
                      <a:pt x="26" y="7"/>
                      <a:pt x="22" y="6"/>
                      <a:pt x="22" y="2"/>
                    </a:cubicBezTo>
                    <a:cubicBezTo>
                      <a:pt x="22" y="0"/>
                      <a:pt x="21" y="0"/>
                      <a:pt x="20" y="0"/>
                    </a:cubicBezTo>
                    <a:cubicBezTo>
                      <a:pt x="19" y="0"/>
                      <a:pt x="18" y="0"/>
                      <a:pt x="18" y="1"/>
                    </a:cubicBezTo>
                    <a:cubicBezTo>
                      <a:pt x="18" y="3"/>
                      <a:pt x="17" y="4"/>
                      <a:pt x="16" y="5"/>
                    </a:cubicBezTo>
                    <a:cubicBezTo>
                      <a:pt x="15" y="6"/>
                      <a:pt x="13" y="7"/>
                      <a:pt x="11" y="7"/>
                    </a:cubicBezTo>
                    <a:cubicBezTo>
                      <a:pt x="10" y="7"/>
                      <a:pt x="9" y="6"/>
                      <a:pt x="8" y="6"/>
                    </a:cubicBezTo>
                    <a:cubicBezTo>
                      <a:pt x="7" y="5"/>
                      <a:pt x="6" y="5"/>
                      <a:pt x="5" y="6"/>
                    </a:cubicBezTo>
                    <a:cubicBezTo>
                      <a:pt x="4" y="7"/>
                      <a:pt x="5" y="8"/>
                      <a:pt x="5" y="9"/>
                    </a:cubicBezTo>
                    <a:cubicBezTo>
                      <a:pt x="6" y="10"/>
                      <a:pt x="7" y="11"/>
                      <a:pt x="7" y="12"/>
                    </a:cubicBezTo>
                    <a:cubicBezTo>
                      <a:pt x="7" y="13"/>
                      <a:pt x="6" y="15"/>
                      <a:pt x="5" y="17"/>
                    </a:cubicBezTo>
                    <a:cubicBezTo>
                      <a:pt x="4" y="17"/>
                      <a:pt x="3" y="18"/>
                      <a:pt x="1" y="18"/>
                    </a:cubicBezTo>
                    <a:cubicBezTo>
                      <a:pt x="0" y="18"/>
                      <a:pt x="0" y="19"/>
                      <a:pt x="0" y="20"/>
                    </a:cubicBezTo>
                    <a:cubicBezTo>
                      <a:pt x="0" y="21"/>
                      <a:pt x="0" y="22"/>
                      <a:pt x="2" y="22"/>
                    </a:cubicBezTo>
                    <a:cubicBezTo>
                      <a:pt x="3" y="22"/>
                      <a:pt x="4" y="22"/>
                      <a:pt x="5" y="23"/>
                    </a:cubicBezTo>
                    <a:cubicBezTo>
                      <a:pt x="6" y="25"/>
                      <a:pt x="6" y="26"/>
                      <a:pt x="7" y="28"/>
                    </a:cubicBezTo>
                    <a:cubicBezTo>
                      <a:pt x="7" y="29"/>
                      <a:pt x="6" y="30"/>
                      <a:pt x="5" y="31"/>
                    </a:cubicBezTo>
                    <a:cubicBezTo>
                      <a:pt x="5" y="32"/>
                      <a:pt x="4" y="33"/>
                      <a:pt x="6" y="34"/>
                    </a:cubicBezTo>
                    <a:cubicBezTo>
                      <a:pt x="7" y="35"/>
                      <a:pt x="7" y="35"/>
                      <a:pt x="9" y="34"/>
                    </a:cubicBezTo>
                    <a:cubicBezTo>
                      <a:pt x="9" y="34"/>
                      <a:pt x="11" y="33"/>
                      <a:pt x="11" y="33"/>
                    </a:cubicBezTo>
                    <a:cubicBezTo>
                      <a:pt x="13" y="33"/>
                      <a:pt x="15" y="34"/>
                      <a:pt x="16" y="35"/>
                    </a:cubicBezTo>
                    <a:cubicBezTo>
                      <a:pt x="17" y="36"/>
                      <a:pt x="17" y="37"/>
                      <a:pt x="18" y="38"/>
                    </a:cubicBezTo>
                    <a:cubicBezTo>
                      <a:pt x="18" y="39"/>
                      <a:pt x="18" y="40"/>
                      <a:pt x="19" y="40"/>
                    </a:cubicBezTo>
                    <a:cubicBezTo>
                      <a:pt x="21" y="40"/>
                      <a:pt x="22" y="40"/>
                      <a:pt x="22" y="38"/>
                    </a:cubicBezTo>
                    <a:cubicBezTo>
                      <a:pt x="22" y="37"/>
                      <a:pt x="23" y="35"/>
                      <a:pt x="23" y="35"/>
                    </a:cubicBezTo>
                    <a:cubicBezTo>
                      <a:pt x="26" y="34"/>
                      <a:pt x="29" y="32"/>
                      <a:pt x="31" y="34"/>
                    </a:cubicBezTo>
                    <a:cubicBezTo>
                      <a:pt x="31" y="34"/>
                      <a:pt x="33" y="35"/>
                      <a:pt x="34" y="34"/>
                    </a:cubicBezTo>
                    <a:cubicBezTo>
                      <a:pt x="36" y="32"/>
                      <a:pt x="35" y="31"/>
                      <a:pt x="34" y="30"/>
                    </a:cubicBezTo>
                    <a:cubicBezTo>
                      <a:pt x="32" y="27"/>
                      <a:pt x="34" y="22"/>
                      <a:pt x="36" y="22"/>
                    </a:cubicBezTo>
                    <a:cubicBezTo>
                      <a:pt x="39" y="22"/>
                      <a:pt x="40" y="22"/>
                      <a:pt x="40" y="20"/>
                    </a:cubicBezTo>
                    <a:cubicBezTo>
                      <a:pt x="40" y="17"/>
                      <a:pt x="37" y="18"/>
                      <a:pt x="36" y="17"/>
                    </a:cubicBezTo>
                    <a:close/>
                    <a:moveTo>
                      <a:pt x="20" y="30"/>
                    </a:moveTo>
                    <a:cubicBezTo>
                      <a:pt x="15" y="30"/>
                      <a:pt x="11" y="26"/>
                      <a:pt x="11" y="21"/>
                    </a:cubicBezTo>
                    <a:cubicBezTo>
                      <a:pt x="11" y="16"/>
                      <a:pt x="15" y="12"/>
                      <a:pt x="20" y="12"/>
                    </a:cubicBezTo>
                    <a:cubicBezTo>
                      <a:pt x="25" y="12"/>
                      <a:pt x="29" y="16"/>
                      <a:pt x="29" y="21"/>
                    </a:cubicBezTo>
                    <a:cubicBezTo>
                      <a:pt x="29" y="26"/>
                      <a:pt x="25" y="30"/>
                      <a:pt x="20" y="30"/>
                    </a:cubicBezTo>
                    <a:close/>
                  </a:path>
                </a:pathLst>
              </a:custGeom>
              <a:noFill/>
              <a:ln w="4" cap="rnd">
                <a:solidFill>
                  <a:schemeClr val="accent5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49" name="Freeform 529"/>
              <p:cNvSpPr>
                <a:spLocks noEditPoints="1"/>
              </p:cNvSpPr>
              <p:nvPr/>
            </p:nvSpPr>
            <p:spPr bwMode="auto">
              <a:xfrm>
                <a:off x="2749551" y="6107113"/>
                <a:ext cx="127000" cy="127000"/>
              </a:xfrm>
              <a:custGeom>
                <a:avLst/>
                <a:gdLst>
                  <a:gd name="T0" fmla="*/ 37 w 40"/>
                  <a:gd name="T1" fmla="*/ 17 h 40"/>
                  <a:gd name="T2" fmla="*/ 33 w 40"/>
                  <a:gd name="T3" fmla="*/ 10 h 40"/>
                  <a:gd name="T4" fmla="*/ 34 w 40"/>
                  <a:gd name="T5" fmla="*/ 6 h 40"/>
                  <a:gd name="T6" fmla="*/ 30 w 40"/>
                  <a:gd name="T7" fmla="*/ 7 h 40"/>
                  <a:gd name="T8" fmla="*/ 29 w 40"/>
                  <a:gd name="T9" fmla="*/ 7 h 40"/>
                  <a:gd name="T10" fmla="*/ 22 w 40"/>
                  <a:gd name="T11" fmla="*/ 2 h 40"/>
                  <a:gd name="T12" fmla="*/ 21 w 40"/>
                  <a:gd name="T13" fmla="*/ 0 h 40"/>
                  <a:gd name="T14" fmla="*/ 18 w 40"/>
                  <a:gd name="T15" fmla="*/ 1 h 40"/>
                  <a:gd name="T16" fmla="*/ 17 w 40"/>
                  <a:gd name="T17" fmla="*/ 5 h 40"/>
                  <a:gd name="T18" fmla="*/ 12 w 40"/>
                  <a:gd name="T19" fmla="*/ 7 h 40"/>
                  <a:gd name="T20" fmla="*/ 9 w 40"/>
                  <a:gd name="T21" fmla="*/ 5 h 40"/>
                  <a:gd name="T22" fmla="*/ 6 w 40"/>
                  <a:gd name="T23" fmla="*/ 6 h 40"/>
                  <a:gd name="T24" fmla="*/ 6 w 40"/>
                  <a:gd name="T25" fmla="*/ 9 h 40"/>
                  <a:gd name="T26" fmla="*/ 7 w 40"/>
                  <a:gd name="T27" fmla="*/ 12 h 40"/>
                  <a:gd name="T28" fmla="*/ 5 w 40"/>
                  <a:gd name="T29" fmla="*/ 17 h 40"/>
                  <a:gd name="T30" fmla="*/ 2 w 40"/>
                  <a:gd name="T31" fmla="*/ 18 h 40"/>
                  <a:gd name="T32" fmla="*/ 0 w 40"/>
                  <a:gd name="T33" fmla="*/ 20 h 40"/>
                  <a:gd name="T34" fmla="*/ 2 w 40"/>
                  <a:gd name="T35" fmla="*/ 22 h 40"/>
                  <a:gd name="T36" fmla="*/ 5 w 40"/>
                  <a:gd name="T37" fmla="*/ 23 h 40"/>
                  <a:gd name="T38" fmla="*/ 7 w 40"/>
                  <a:gd name="T39" fmla="*/ 28 h 40"/>
                  <a:gd name="T40" fmla="*/ 6 w 40"/>
                  <a:gd name="T41" fmla="*/ 31 h 40"/>
                  <a:gd name="T42" fmla="*/ 6 w 40"/>
                  <a:gd name="T43" fmla="*/ 34 h 40"/>
                  <a:gd name="T44" fmla="*/ 9 w 40"/>
                  <a:gd name="T45" fmla="*/ 34 h 40"/>
                  <a:gd name="T46" fmla="*/ 12 w 40"/>
                  <a:gd name="T47" fmla="*/ 33 h 40"/>
                  <a:gd name="T48" fmla="*/ 17 w 40"/>
                  <a:gd name="T49" fmla="*/ 35 h 40"/>
                  <a:gd name="T50" fmla="*/ 18 w 40"/>
                  <a:gd name="T51" fmla="*/ 38 h 40"/>
                  <a:gd name="T52" fmla="*/ 20 w 40"/>
                  <a:gd name="T53" fmla="*/ 40 h 40"/>
                  <a:gd name="T54" fmla="*/ 22 w 40"/>
                  <a:gd name="T55" fmla="*/ 38 h 40"/>
                  <a:gd name="T56" fmla="*/ 24 w 40"/>
                  <a:gd name="T57" fmla="*/ 35 h 40"/>
                  <a:gd name="T58" fmla="*/ 32 w 40"/>
                  <a:gd name="T59" fmla="*/ 34 h 40"/>
                  <a:gd name="T60" fmla="*/ 35 w 40"/>
                  <a:gd name="T61" fmla="*/ 34 h 40"/>
                  <a:gd name="T62" fmla="*/ 35 w 40"/>
                  <a:gd name="T63" fmla="*/ 30 h 40"/>
                  <a:gd name="T64" fmla="*/ 37 w 40"/>
                  <a:gd name="T65" fmla="*/ 22 h 40"/>
                  <a:gd name="T66" fmla="*/ 40 w 40"/>
                  <a:gd name="T67" fmla="*/ 20 h 40"/>
                  <a:gd name="T68" fmla="*/ 37 w 40"/>
                  <a:gd name="T69" fmla="*/ 17 h 40"/>
                  <a:gd name="T70" fmla="*/ 21 w 40"/>
                  <a:gd name="T71" fmla="*/ 30 h 40"/>
                  <a:gd name="T72" fmla="*/ 12 w 40"/>
                  <a:gd name="T73" fmla="*/ 21 h 40"/>
                  <a:gd name="T74" fmla="*/ 21 w 40"/>
                  <a:gd name="T75" fmla="*/ 12 h 40"/>
                  <a:gd name="T76" fmla="*/ 30 w 40"/>
                  <a:gd name="T77" fmla="*/ 21 h 40"/>
                  <a:gd name="T78" fmla="*/ 21 w 40"/>
                  <a:gd name="T79" fmla="*/ 30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40" h="40">
                    <a:moveTo>
                      <a:pt x="37" y="17"/>
                    </a:moveTo>
                    <a:cubicBezTo>
                      <a:pt x="34" y="16"/>
                      <a:pt x="32" y="12"/>
                      <a:pt x="33" y="10"/>
                    </a:cubicBezTo>
                    <a:cubicBezTo>
                      <a:pt x="34" y="8"/>
                      <a:pt x="35" y="7"/>
                      <a:pt x="34" y="6"/>
                    </a:cubicBezTo>
                    <a:cubicBezTo>
                      <a:pt x="32" y="4"/>
                      <a:pt x="31" y="6"/>
                      <a:pt x="30" y="7"/>
                    </a:cubicBezTo>
                    <a:cubicBezTo>
                      <a:pt x="30" y="7"/>
                      <a:pt x="29" y="7"/>
                      <a:pt x="29" y="7"/>
                    </a:cubicBezTo>
                    <a:cubicBezTo>
                      <a:pt x="27" y="7"/>
                      <a:pt x="22" y="6"/>
                      <a:pt x="22" y="2"/>
                    </a:cubicBezTo>
                    <a:cubicBezTo>
                      <a:pt x="22" y="0"/>
                      <a:pt x="22" y="0"/>
                      <a:pt x="21" y="0"/>
                    </a:cubicBezTo>
                    <a:cubicBezTo>
                      <a:pt x="19" y="0"/>
                      <a:pt x="19" y="0"/>
                      <a:pt x="18" y="1"/>
                    </a:cubicBezTo>
                    <a:cubicBezTo>
                      <a:pt x="18" y="3"/>
                      <a:pt x="18" y="4"/>
                      <a:pt x="17" y="5"/>
                    </a:cubicBezTo>
                    <a:cubicBezTo>
                      <a:pt x="16" y="6"/>
                      <a:pt x="14" y="7"/>
                      <a:pt x="12" y="7"/>
                    </a:cubicBezTo>
                    <a:cubicBezTo>
                      <a:pt x="11" y="7"/>
                      <a:pt x="10" y="6"/>
                      <a:pt x="9" y="5"/>
                    </a:cubicBezTo>
                    <a:cubicBezTo>
                      <a:pt x="8" y="5"/>
                      <a:pt x="7" y="5"/>
                      <a:pt x="6" y="6"/>
                    </a:cubicBezTo>
                    <a:cubicBezTo>
                      <a:pt x="5" y="7"/>
                      <a:pt x="5" y="8"/>
                      <a:pt x="6" y="9"/>
                    </a:cubicBezTo>
                    <a:cubicBezTo>
                      <a:pt x="6" y="10"/>
                      <a:pt x="7" y="11"/>
                      <a:pt x="7" y="12"/>
                    </a:cubicBezTo>
                    <a:cubicBezTo>
                      <a:pt x="7" y="13"/>
                      <a:pt x="6" y="15"/>
                      <a:pt x="5" y="17"/>
                    </a:cubicBezTo>
                    <a:cubicBezTo>
                      <a:pt x="5" y="17"/>
                      <a:pt x="3" y="18"/>
                      <a:pt x="2" y="18"/>
                    </a:cubicBezTo>
                    <a:cubicBezTo>
                      <a:pt x="1" y="18"/>
                      <a:pt x="0" y="19"/>
                      <a:pt x="0" y="20"/>
                    </a:cubicBezTo>
                    <a:cubicBezTo>
                      <a:pt x="0" y="21"/>
                      <a:pt x="1" y="22"/>
                      <a:pt x="2" y="22"/>
                    </a:cubicBezTo>
                    <a:cubicBezTo>
                      <a:pt x="3" y="22"/>
                      <a:pt x="5" y="22"/>
                      <a:pt x="5" y="23"/>
                    </a:cubicBezTo>
                    <a:cubicBezTo>
                      <a:pt x="6" y="25"/>
                      <a:pt x="7" y="26"/>
                      <a:pt x="7" y="28"/>
                    </a:cubicBezTo>
                    <a:cubicBezTo>
                      <a:pt x="7" y="29"/>
                      <a:pt x="6" y="30"/>
                      <a:pt x="6" y="31"/>
                    </a:cubicBezTo>
                    <a:cubicBezTo>
                      <a:pt x="5" y="32"/>
                      <a:pt x="5" y="33"/>
                      <a:pt x="6" y="34"/>
                    </a:cubicBezTo>
                    <a:cubicBezTo>
                      <a:pt x="7" y="35"/>
                      <a:pt x="8" y="35"/>
                      <a:pt x="9" y="34"/>
                    </a:cubicBezTo>
                    <a:cubicBezTo>
                      <a:pt x="10" y="34"/>
                      <a:pt x="11" y="33"/>
                      <a:pt x="12" y="33"/>
                    </a:cubicBezTo>
                    <a:cubicBezTo>
                      <a:pt x="14" y="33"/>
                      <a:pt x="15" y="34"/>
                      <a:pt x="17" y="35"/>
                    </a:cubicBezTo>
                    <a:cubicBezTo>
                      <a:pt x="18" y="36"/>
                      <a:pt x="18" y="37"/>
                      <a:pt x="18" y="38"/>
                    </a:cubicBezTo>
                    <a:cubicBezTo>
                      <a:pt x="18" y="39"/>
                      <a:pt x="18" y="40"/>
                      <a:pt x="20" y="40"/>
                    </a:cubicBezTo>
                    <a:cubicBezTo>
                      <a:pt x="21" y="40"/>
                      <a:pt x="22" y="40"/>
                      <a:pt x="22" y="38"/>
                    </a:cubicBezTo>
                    <a:cubicBezTo>
                      <a:pt x="23" y="37"/>
                      <a:pt x="23" y="35"/>
                      <a:pt x="24" y="35"/>
                    </a:cubicBezTo>
                    <a:cubicBezTo>
                      <a:pt x="27" y="34"/>
                      <a:pt x="29" y="32"/>
                      <a:pt x="32" y="34"/>
                    </a:cubicBezTo>
                    <a:cubicBezTo>
                      <a:pt x="32" y="34"/>
                      <a:pt x="33" y="35"/>
                      <a:pt x="35" y="34"/>
                    </a:cubicBezTo>
                    <a:cubicBezTo>
                      <a:pt x="36" y="32"/>
                      <a:pt x="35" y="31"/>
                      <a:pt x="35" y="30"/>
                    </a:cubicBezTo>
                    <a:cubicBezTo>
                      <a:pt x="32" y="27"/>
                      <a:pt x="34" y="22"/>
                      <a:pt x="37" y="22"/>
                    </a:cubicBezTo>
                    <a:cubicBezTo>
                      <a:pt x="39" y="22"/>
                      <a:pt x="40" y="22"/>
                      <a:pt x="40" y="20"/>
                    </a:cubicBezTo>
                    <a:cubicBezTo>
                      <a:pt x="40" y="17"/>
                      <a:pt x="38" y="18"/>
                      <a:pt x="37" y="17"/>
                    </a:cubicBezTo>
                    <a:close/>
                    <a:moveTo>
                      <a:pt x="21" y="30"/>
                    </a:moveTo>
                    <a:cubicBezTo>
                      <a:pt x="16" y="30"/>
                      <a:pt x="12" y="26"/>
                      <a:pt x="12" y="21"/>
                    </a:cubicBezTo>
                    <a:cubicBezTo>
                      <a:pt x="12" y="16"/>
                      <a:pt x="16" y="12"/>
                      <a:pt x="21" y="12"/>
                    </a:cubicBezTo>
                    <a:cubicBezTo>
                      <a:pt x="26" y="12"/>
                      <a:pt x="30" y="16"/>
                      <a:pt x="30" y="21"/>
                    </a:cubicBezTo>
                    <a:cubicBezTo>
                      <a:pt x="30" y="26"/>
                      <a:pt x="26" y="30"/>
                      <a:pt x="21" y="30"/>
                    </a:cubicBezTo>
                    <a:close/>
                  </a:path>
                </a:pathLst>
              </a:custGeom>
              <a:noFill/>
              <a:ln w="4" cap="rnd">
                <a:solidFill>
                  <a:schemeClr val="accent5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50" name="Freeform 530"/>
              <p:cNvSpPr>
                <a:spLocks noEditPoints="1"/>
              </p:cNvSpPr>
              <p:nvPr/>
            </p:nvSpPr>
            <p:spPr bwMode="auto">
              <a:xfrm>
                <a:off x="2679701" y="5859463"/>
                <a:ext cx="225425" cy="228600"/>
              </a:xfrm>
              <a:custGeom>
                <a:avLst/>
                <a:gdLst>
                  <a:gd name="T0" fmla="*/ 66 w 71"/>
                  <a:gd name="T1" fmla="*/ 31 h 72"/>
                  <a:gd name="T2" fmla="*/ 59 w 71"/>
                  <a:gd name="T3" fmla="*/ 18 h 72"/>
                  <a:gd name="T4" fmla="*/ 60 w 71"/>
                  <a:gd name="T5" fmla="*/ 11 h 72"/>
                  <a:gd name="T6" fmla="*/ 53 w 71"/>
                  <a:gd name="T7" fmla="*/ 12 h 72"/>
                  <a:gd name="T8" fmla="*/ 51 w 71"/>
                  <a:gd name="T9" fmla="*/ 13 h 72"/>
                  <a:gd name="T10" fmla="*/ 39 w 71"/>
                  <a:gd name="T11" fmla="*/ 3 h 72"/>
                  <a:gd name="T12" fmla="*/ 36 w 71"/>
                  <a:gd name="T13" fmla="*/ 1 h 72"/>
                  <a:gd name="T14" fmla="*/ 32 w 71"/>
                  <a:gd name="T15" fmla="*/ 3 h 72"/>
                  <a:gd name="T16" fmla="*/ 30 w 71"/>
                  <a:gd name="T17" fmla="*/ 9 h 72"/>
                  <a:gd name="T18" fmla="*/ 21 w 71"/>
                  <a:gd name="T19" fmla="*/ 13 h 72"/>
                  <a:gd name="T20" fmla="*/ 15 w 71"/>
                  <a:gd name="T21" fmla="*/ 10 h 72"/>
                  <a:gd name="T22" fmla="*/ 10 w 71"/>
                  <a:gd name="T23" fmla="*/ 11 h 72"/>
                  <a:gd name="T24" fmla="*/ 10 w 71"/>
                  <a:gd name="T25" fmla="*/ 16 h 72"/>
                  <a:gd name="T26" fmla="*/ 13 w 71"/>
                  <a:gd name="T27" fmla="*/ 21 h 72"/>
                  <a:gd name="T28" fmla="*/ 9 w 71"/>
                  <a:gd name="T29" fmla="*/ 30 h 72"/>
                  <a:gd name="T30" fmla="*/ 3 w 71"/>
                  <a:gd name="T31" fmla="*/ 32 h 72"/>
                  <a:gd name="T32" fmla="*/ 0 w 71"/>
                  <a:gd name="T33" fmla="*/ 36 h 72"/>
                  <a:gd name="T34" fmla="*/ 3 w 71"/>
                  <a:gd name="T35" fmla="*/ 40 h 72"/>
                  <a:gd name="T36" fmla="*/ 9 w 71"/>
                  <a:gd name="T37" fmla="*/ 42 h 72"/>
                  <a:gd name="T38" fmla="*/ 13 w 71"/>
                  <a:gd name="T39" fmla="*/ 51 h 72"/>
                  <a:gd name="T40" fmla="*/ 10 w 71"/>
                  <a:gd name="T41" fmla="*/ 56 h 72"/>
                  <a:gd name="T42" fmla="*/ 10 w 71"/>
                  <a:gd name="T43" fmla="*/ 62 h 72"/>
                  <a:gd name="T44" fmla="*/ 16 w 71"/>
                  <a:gd name="T45" fmla="*/ 62 h 72"/>
                  <a:gd name="T46" fmla="*/ 21 w 71"/>
                  <a:gd name="T47" fmla="*/ 59 h 72"/>
                  <a:gd name="T48" fmla="*/ 30 w 71"/>
                  <a:gd name="T49" fmla="*/ 63 h 72"/>
                  <a:gd name="T50" fmla="*/ 32 w 71"/>
                  <a:gd name="T51" fmla="*/ 69 h 72"/>
                  <a:gd name="T52" fmla="*/ 35 w 71"/>
                  <a:gd name="T53" fmla="*/ 72 h 72"/>
                  <a:gd name="T54" fmla="*/ 40 w 71"/>
                  <a:gd name="T55" fmla="*/ 69 h 72"/>
                  <a:gd name="T56" fmla="*/ 42 w 71"/>
                  <a:gd name="T57" fmla="*/ 63 h 72"/>
                  <a:gd name="T58" fmla="*/ 56 w 71"/>
                  <a:gd name="T59" fmla="*/ 61 h 72"/>
                  <a:gd name="T60" fmla="*/ 62 w 71"/>
                  <a:gd name="T61" fmla="*/ 61 h 72"/>
                  <a:gd name="T62" fmla="*/ 61 w 71"/>
                  <a:gd name="T63" fmla="*/ 54 h 72"/>
                  <a:gd name="T64" fmla="*/ 65 w 71"/>
                  <a:gd name="T65" fmla="*/ 40 h 72"/>
                  <a:gd name="T66" fmla="*/ 71 w 71"/>
                  <a:gd name="T67" fmla="*/ 36 h 72"/>
                  <a:gd name="T68" fmla="*/ 66 w 71"/>
                  <a:gd name="T69" fmla="*/ 31 h 72"/>
                  <a:gd name="T70" fmla="*/ 36 w 71"/>
                  <a:gd name="T71" fmla="*/ 54 h 72"/>
                  <a:gd name="T72" fmla="*/ 20 w 71"/>
                  <a:gd name="T73" fmla="*/ 37 h 72"/>
                  <a:gd name="T74" fmla="*/ 37 w 71"/>
                  <a:gd name="T75" fmla="*/ 21 h 72"/>
                  <a:gd name="T76" fmla="*/ 53 w 71"/>
                  <a:gd name="T77" fmla="*/ 38 h 72"/>
                  <a:gd name="T78" fmla="*/ 36 w 71"/>
                  <a:gd name="T79" fmla="*/ 54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71" h="72">
                    <a:moveTo>
                      <a:pt x="66" y="31"/>
                    </a:moveTo>
                    <a:cubicBezTo>
                      <a:pt x="61" y="30"/>
                      <a:pt x="57" y="22"/>
                      <a:pt x="59" y="18"/>
                    </a:cubicBezTo>
                    <a:cubicBezTo>
                      <a:pt x="61" y="14"/>
                      <a:pt x="62" y="13"/>
                      <a:pt x="60" y="11"/>
                    </a:cubicBezTo>
                    <a:cubicBezTo>
                      <a:pt x="57" y="8"/>
                      <a:pt x="55" y="11"/>
                      <a:pt x="53" y="12"/>
                    </a:cubicBezTo>
                    <a:cubicBezTo>
                      <a:pt x="52" y="13"/>
                      <a:pt x="51" y="13"/>
                      <a:pt x="51" y="13"/>
                    </a:cubicBezTo>
                    <a:cubicBezTo>
                      <a:pt x="47" y="14"/>
                      <a:pt x="39" y="11"/>
                      <a:pt x="39" y="3"/>
                    </a:cubicBezTo>
                    <a:cubicBezTo>
                      <a:pt x="39" y="1"/>
                      <a:pt x="38" y="0"/>
                      <a:pt x="36" y="1"/>
                    </a:cubicBezTo>
                    <a:cubicBezTo>
                      <a:pt x="34" y="1"/>
                      <a:pt x="33" y="1"/>
                      <a:pt x="32" y="3"/>
                    </a:cubicBezTo>
                    <a:cubicBezTo>
                      <a:pt x="32" y="5"/>
                      <a:pt x="31" y="8"/>
                      <a:pt x="30" y="9"/>
                    </a:cubicBezTo>
                    <a:cubicBezTo>
                      <a:pt x="28" y="11"/>
                      <a:pt x="24" y="13"/>
                      <a:pt x="21" y="13"/>
                    </a:cubicBezTo>
                    <a:cubicBezTo>
                      <a:pt x="19" y="13"/>
                      <a:pt x="17" y="12"/>
                      <a:pt x="15" y="10"/>
                    </a:cubicBezTo>
                    <a:cubicBezTo>
                      <a:pt x="13" y="9"/>
                      <a:pt x="12" y="9"/>
                      <a:pt x="10" y="11"/>
                    </a:cubicBezTo>
                    <a:cubicBezTo>
                      <a:pt x="8" y="13"/>
                      <a:pt x="9" y="14"/>
                      <a:pt x="10" y="16"/>
                    </a:cubicBezTo>
                    <a:cubicBezTo>
                      <a:pt x="11" y="18"/>
                      <a:pt x="13" y="20"/>
                      <a:pt x="13" y="21"/>
                    </a:cubicBezTo>
                    <a:cubicBezTo>
                      <a:pt x="12" y="25"/>
                      <a:pt x="11" y="28"/>
                      <a:pt x="9" y="30"/>
                    </a:cubicBezTo>
                    <a:cubicBezTo>
                      <a:pt x="8" y="32"/>
                      <a:pt x="5" y="32"/>
                      <a:pt x="3" y="32"/>
                    </a:cubicBezTo>
                    <a:cubicBezTo>
                      <a:pt x="1" y="33"/>
                      <a:pt x="0" y="34"/>
                      <a:pt x="0" y="36"/>
                    </a:cubicBezTo>
                    <a:cubicBezTo>
                      <a:pt x="0" y="39"/>
                      <a:pt x="1" y="40"/>
                      <a:pt x="3" y="40"/>
                    </a:cubicBezTo>
                    <a:cubicBezTo>
                      <a:pt x="5" y="40"/>
                      <a:pt x="8" y="41"/>
                      <a:pt x="9" y="42"/>
                    </a:cubicBezTo>
                    <a:cubicBezTo>
                      <a:pt x="11" y="45"/>
                      <a:pt x="12" y="48"/>
                      <a:pt x="13" y="51"/>
                    </a:cubicBezTo>
                    <a:cubicBezTo>
                      <a:pt x="13" y="53"/>
                      <a:pt x="11" y="55"/>
                      <a:pt x="10" y="56"/>
                    </a:cubicBezTo>
                    <a:cubicBezTo>
                      <a:pt x="9" y="58"/>
                      <a:pt x="8" y="60"/>
                      <a:pt x="10" y="62"/>
                    </a:cubicBezTo>
                    <a:cubicBezTo>
                      <a:pt x="12" y="64"/>
                      <a:pt x="14" y="63"/>
                      <a:pt x="16" y="62"/>
                    </a:cubicBezTo>
                    <a:cubicBezTo>
                      <a:pt x="17" y="61"/>
                      <a:pt x="19" y="59"/>
                      <a:pt x="21" y="59"/>
                    </a:cubicBezTo>
                    <a:cubicBezTo>
                      <a:pt x="24" y="60"/>
                      <a:pt x="27" y="61"/>
                      <a:pt x="30" y="63"/>
                    </a:cubicBezTo>
                    <a:cubicBezTo>
                      <a:pt x="31" y="64"/>
                      <a:pt x="31" y="67"/>
                      <a:pt x="32" y="69"/>
                    </a:cubicBezTo>
                    <a:cubicBezTo>
                      <a:pt x="32" y="71"/>
                      <a:pt x="32" y="72"/>
                      <a:pt x="35" y="72"/>
                    </a:cubicBezTo>
                    <a:cubicBezTo>
                      <a:pt x="38" y="72"/>
                      <a:pt x="39" y="72"/>
                      <a:pt x="40" y="69"/>
                    </a:cubicBezTo>
                    <a:cubicBezTo>
                      <a:pt x="40" y="67"/>
                      <a:pt x="41" y="64"/>
                      <a:pt x="42" y="63"/>
                    </a:cubicBezTo>
                    <a:cubicBezTo>
                      <a:pt x="47" y="61"/>
                      <a:pt x="51" y="57"/>
                      <a:pt x="56" y="61"/>
                    </a:cubicBezTo>
                    <a:cubicBezTo>
                      <a:pt x="56" y="62"/>
                      <a:pt x="59" y="64"/>
                      <a:pt x="62" y="61"/>
                    </a:cubicBezTo>
                    <a:cubicBezTo>
                      <a:pt x="64" y="58"/>
                      <a:pt x="63" y="56"/>
                      <a:pt x="61" y="54"/>
                    </a:cubicBezTo>
                    <a:cubicBezTo>
                      <a:pt x="57" y="49"/>
                      <a:pt x="61" y="40"/>
                      <a:pt x="65" y="40"/>
                    </a:cubicBezTo>
                    <a:cubicBezTo>
                      <a:pt x="70" y="40"/>
                      <a:pt x="71" y="39"/>
                      <a:pt x="71" y="36"/>
                    </a:cubicBezTo>
                    <a:cubicBezTo>
                      <a:pt x="71" y="32"/>
                      <a:pt x="67" y="32"/>
                      <a:pt x="66" y="31"/>
                    </a:cubicBezTo>
                    <a:close/>
                    <a:moveTo>
                      <a:pt x="36" y="54"/>
                    </a:moveTo>
                    <a:cubicBezTo>
                      <a:pt x="27" y="54"/>
                      <a:pt x="20" y="46"/>
                      <a:pt x="20" y="37"/>
                    </a:cubicBezTo>
                    <a:cubicBezTo>
                      <a:pt x="20" y="29"/>
                      <a:pt x="28" y="21"/>
                      <a:pt x="37" y="21"/>
                    </a:cubicBezTo>
                    <a:cubicBezTo>
                      <a:pt x="45" y="21"/>
                      <a:pt x="53" y="29"/>
                      <a:pt x="53" y="38"/>
                    </a:cubicBezTo>
                    <a:cubicBezTo>
                      <a:pt x="53" y="47"/>
                      <a:pt x="45" y="54"/>
                      <a:pt x="36" y="54"/>
                    </a:cubicBezTo>
                    <a:close/>
                  </a:path>
                </a:pathLst>
              </a:custGeom>
              <a:noFill/>
              <a:ln w="4" cap="rnd">
                <a:solidFill>
                  <a:schemeClr val="accent5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latin typeface="Arial" pitchFamily="34" charset="0"/>
                  <a:cs typeface="Arial" pitchFamily="34" charset="0"/>
                </a:endParaRPr>
              </a:p>
            </p:txBody>
          </p:sp>
        </p:grpSp>
        <p:grpSp>
          <p:nvGrpSpPr>
            <p:cNvPr id="137" name="Group 44"/>
            <p:cNvGrpSpPr/>
            <p:nvPr/>
          </p:nvGrpSpPr>
          <p:grpSpPr>
            <a:xfrm>
              <a:off x="5770681" y="1727208"/>
              <a:ext cx="290294" cy="271509"/>
              <a:chOff x="2497138" y="5654676"/>
              <a:chExt cx="700088" cy="700088"/>
            </a:xfrm>
          </p:grpSpPr>
          <p:sp>
            <p:nvSpPr>
              <p:cNvPr id="143" name="Freeform 527"/>
              <p:cNvSpPr>
                <a:spLocks noEditPoints="1"/>
              </p:cNvSpPr>
              <p:nvPr/>
            </p:nvSpPr>
            <p:spPr bwMode="auto">
              <a:xfrm>
                <a:off x="2497138" y="5654676"/>
                <a:ext cx="700088" cy="700088"/>
              </a:xfrm>
              <a:custGeom>
                <a:avLst/>
                <a:gdLst>
                  <a:gd name="T0" fmla="*/ 122 w 220"/>
                  <a:gd name="T1" fmla="*/ 220 h 220"/>
                  <a:gd name="T2" fmla="*/ 41 w 220"/>
                  <a:gd name="T3" fmla="*/ 220 h 220"/>
                  <a:gd name="T4" fmla="*/ 0 w 220"/>
                  <a:gd name="T5" fmla="*/ 178 h 220"/>
                  <a:gd name="T6" fmla="*/ 0 w 220"/>
                  <a:gd name="T7" fmla="*/ 41 h 220"/>
                  <a:gd name="T8" fmla="*/ 41 w 220"/>
                  <a:gd name="T9" fmla="*/ 0 h 220"/>
                  <a:gd name="T10" fmla="*/ 179 w 220"/>
                  <a:gd name="T11" fmla="*/ 0 h 220"/>
                  <a:gd name="T12" fmla="*/ 220 w 220"/>
                  <a:gd name="T13" fmla="*/ 41 h 220"/>
                  <a:gd name="T14" fmla="*/ 220 w 220"/>
                  <a:gd name="T15" fmla="*/ 178 h 220"/>
                  <a:gd name="T16" fmla="*/ 179 w 220"/>
                  <a:gd name="T17" fmla="*/ 220 h 220"/>
                  <a:gd name="T18" fmla="*/ 160 w 220"/>
                  <a:gd name="T19" fmla="*/ 220 h 220"/>
                  <a:gd name="T20" fmla="*/ 41 w 220"/>
                  <a:gd name="T21" fmla="*/ 13 h 220"/>
                  <a:gd name="T22" fmla="*/ 27 w 220"/>
                  <a:gd name="T23" fmla="*/ 27 h 220"/>
                  <a:gd name="T24" fmla="*/ 41 w 220"/>
                  <a:gd name="T25" fmla="*/ 41 h 220"/>
                  <a:gd name="T26" fmla="*/ 55 w 220"/>
                  <a:gd name="T27" fmla="*/ 27 h 220"/>
                  <a:gd name="T28" fmla="*/ 41 w 220"/>
                  <a:gd name="T29" fmla="*/ 13 h 220"/>
                  <a:gd name="T30" fmla="*/ 192 w 220"/>
                  <a:gd name="T31" fmla="*/ 55 h 220"/>
                  <a:gd name="T32" fmla="*/ 27 w 220"/>
                  <a:gd name="T33" fmla="*/ 55 h 220"/>
                  <a:gd name="T34" fmla="*/ 27 w 220"/>
                  <a:gd name="T35" fmla="*/ 178 h 220"/>
                  <a:gd name="T36" fmla="*/ 41 w 220"/>
                  <a:gd name="T37" fmla="*/ 192 h 220"/>
                  <a:gd name="T38" fmla="*/ 179 w 220"/>
                  <a:gd name="T39" fmla="*/ 192 h 220"/>
                  <a:gd name="T40" fmla="*/ 192 w 220"/>
                  <a:gd name="T41" fmla="*/ 178 h 220"/>
                  <a:gd name="T42" fmla="*/ 192 w 220"/>
                  <a:gd name="T43" fmla="*/ 55 h 2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220" h="220">
                    <a:moveTo>
                      <a:pt x="122" y="220"/>
                    </a:moveTo>
                    <a:cubicBezTo>
                      <a:pt x="41" y="220"/>
                      <a:pt x="41" y="220"/>
                      <a:pt x="41" y="220"/>
                    </a:cubicBezTo>
                    <a:cubicBezTo>
                      <a:pt x="18" y="220"/>
                      <a:pt x="0" y="201"/>
                      <a:pt x="0" y="178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18"/>
                      <a:pt x="18" y="0"/>
                      <a:pt x="41" y="0"/>
                    </a:cubicBezTo>
                    <a:cubicBezTo>
                      <a:pt x="179" y="0"/>
                      <a:pt x="179" y="0"/>
                      <a:pt x="179" y="0"/>
                    </a:cubicBezTo>
                    <a:cubicBezTo>
                      <a:pt x="201" y="0"/>
                      <a:pt x="220" y="18"/>
                      <a:pt x="220" y="41"/>
                    </a:cubicBezTo>
                    <a:cubicBezTo>
                      <a:pt x="220" y="178"/>
                      <a:pt x="220" y="178"/>
                      <a:pt x="220" y="178"/>
                    </a:cubicBezTo>
                    <a:cubicBezTo>
                      <a:pt x="220" y="201"/>
                      <a:pt x="201" y="220"/>
                      <a:pt x="179" y="220"/>
                    </a:cubicBezTo>
                    <a:cubicBezTo>
                      <a:pt x="160" y="220"/>
                      <a:pt x="160" y="220"/>
                      <a:pt x="160" y="220"/>
                    </a:cubicBezTo>
                    <a:moveTo>
                      <a:pt x="41" y="13"/>
                    </a:moveTo>
                    <a:cubicBezTo>
                      <a:pt x="33" y="13"/>
                      <a:pt x="27" y="19"/>
                      <a:pt x="27" y="27"/>
                    </a:cubicBezTo>
                    <a:cubicBezTo>
                      <a:pt x="27" y="35"/>
                      <a:pt x="33" y="41"/>
                      <a:pt x="41" y="41"/>
                    </a:cubicBezTo>
                    <a:cubicBezTo>
                      <a:pt x="49" y="41"/>
                      <a:pt x="55" y="35"/>
                      <a:pt x="55" y="27"/>
                    </a:cubicBezTo>
                    <a:cubicBezTo>
                      <a:pt x="55" y="19"/>
                      <a:pt x="49" y="13"/>
                      <a:pt x="41" y="13"/>
                    </a:cubicBezTo>
                    <a:close/>
                    <a:moveTo>
                      <a:pt x="192" y="55"/>
                    </a:moveTo>
                    <a:cubicBezTo>
                      <a:pt x="27" y="55"/>
                      <a:pt x="27" y="55"/>
                      <a:pt x="27" y="55"/>
                    </a:cubicBezTo>
                    <a:cubicBezTo>
                      <a:pt x="27" y="178"/>
                      <a:pt x="27" y="178"/>
                      <a:pt x="27" y="178"/>
                    </a:cubicBezTo>
                    <a:cubicBezTo>
                      <a:pt x="27" y="186"/>
                      <a:pt x="33" y="192"/>
                      <a:pt x="41" y="192"/>
                    </a:cubicBezTo>
                    <a:cubicBezTo>
                      <a:pt x="179" y="192"/>
                      <a:pt x="179" y="192"/>
                      <a:pt x="179" y="192"/>
                    </a:cubicBezTo>
                    <a:cubicBezTo>
                      <a:pt x="186" y="192"/>
                      <a:pt x="192" y="186"/>
                      <a:pt x="192" y="178"/>
                    </a:cubicBezTo>
                    <a:lnTo>
                      <a:pt x="192" y="55"/>
                    </a:lnTo>
                    <a:close/>
                  </a:path>
                </a:pathLst>
              </a:custGeom>
              <a:noFill/>
              <a:ln w="8" cap="rnd">
                <a:solidFill>
                  <a:schemeClr val="accent5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44" name="Freeform 528"/>
              <p:cNvSpPr>
                <a:spLocks noEditPoints="1"/>
              </p:cNvSpPr>
              <p:nvPr/>
            </p:nvSpPr>
            <p:spPr bwMode="auto">
              <a:xfrm>
                <a:off x="2921001" y="5875338"/>
                <a:ext cx="127000" cy="127000"/>
              </a:xfrm>
              <a:custGeom>
                <a:avLst/>
                <a:gdLst>
                  <a:gd name="T0" fmla="*/ 36 w 40"/>
                  <a:gd name="T1" fmla="*/ 17 h 40"/>
                  <a:gd name="T2" fmla="*/ 33 w 40"/>
                  <a:gd name="T3" fmla="*/ 10 h 40"/>
                  <a:gd name="T4" fmla="*/ 33 w 40"/>
                  <a:gd name="T5" fmla="*/ 6 h 40"/>
                  <a:gd name="T6" fmla="*/ 29 w 40"/>
                  <a:gd name="T7" fmla="*/ 7 h 40"/>
                  <a:gd name="T8" fmla="*/ 28 w 40"/>
                  <a:gd name="T9" fmla="*/ 7 h 40"/>
                  <a:gd name="T10" fmla="*/ 22 w 40"/>
                  <a:gd name="T11" fmla="*/ 2 h 40"/>
                  <a:gd name="T12" fmla="*/ 20 w 40"/>
                  <a:gd name="T13" fmla="*/ 0 h 40"/>
                  <a:gd name="T14" fmla="*/ 18 w 40"/>
                  <a:gd name="T15" fmla="*/ 1 h 40"/>
                  <a:gd name="T16" fmla="*/ 16 w 40"/>
                  <a:gd name="T17" fmla="*/ 5 h 40"/>
                  <a:gd name="T18" fmla="*/ 11 w 40"/>
                  <a:gd name="T19" fmla="*/ 7 h 40"/>
                  <a:gd name="T20" fmla="*/ 8 w 40"/>
                  <a:gd name="T21" fmla="*/ 6 h 40"/>
                  <a:gd name="T22" fmla="*/ 5 w 40"/>
                  <a:gd name="T23" fmla="*/ 6 h 40"/>
                  <a:gd name="T24" fmla="*/ 5 w 40"/>
                  <a:gd name="T25" fmla="*/ 9 h 40"/>
                  <a:gd name="T26" fmla="*/ 7 w 40"/>
                  <a:gd name="T27" fmla="*/ 12 h 40"/>
                  <a:gd name="T28" fmla="*/ 5 w 40"/>
                  <a:gd name="T29" fmla="*/ 17 h 40"/>
                  <a:gd name="T30" fmla="*/ 1 w 40"/>
                  <a:gd name="T31" fmla="*/ 18 h 40"/>
                  <a:gd name="T32" fmla="*/ 0 w 40"/>
                  <a:gd name="T33" fmla="*/ 20 h 40"/>
                  <a:gd name="T34" fmla="*/ 2 w 40"/>
                  <a:gd name="T35" fmla="*/ 22 h 40"/>
                  <a:gd name="T36" fmla="*/ 5 w 40"/>
                  <a:gd name="T37" fmla="*/ 23 h 40"/>
                  <a:gd name="T38" fmla="*/ 7 w 40"/>
                  <a:gd name="T39" fmla="*/ 28 h 40"/>
                  <a:gd name="T40" fmla="*/ 5 w 40"/>
                  <a:gd name="T41" fmla="*/ 31 h 40"/>
                  <a:gd name="T42" fmla="*/ 6 w 40"/>
                  <a:gd name="T43" fmla="*/ 34 h 40"/>
                  <a:gd name="T44" fmla="*/ 9 w 40"/>
                  <a:gd name="T45" fmla="*/ 34 h 40"/>
                  <a:gd name="T46" fmla="*/ 11 w 40"/>
                  <a:gd name="T47" fmla="*/ 33 h 40"/>
                  <a:gd name="T48" fmla="*/ 16 w 40"/>
                  <a:gd name="T49" fmla="*/ 35 h 40"/>
                  <a:gd name="T50" fmla="*/ 18 w 40"/>
                  <a:gd name="T51" fmla="*/ 38 h 40"/>
                  <a:gd name="T52" fmla="*/ 19 w 40"/>
                  <a:gd name="T53" fmla="*/ 40 h 40"/>
                  <a:gd name="T54" fmla="*/ 22 w 40"/>
                  <a:gd name="T55" fmla="*/ 38 h 40"/>
                  <a:gd name="T56" fmla="*/ 23 w 40"/>
                  <a:gd name="T57" fmla="*/ 35 h 40"/>
                  <a:gd name="T58" fmla="*/ 31 w 40"/>
                  <a:gd name="T59" fmla="*/ 34 h 40"/>
                  <a:gd name="T60" fmla="*/ 34 w 40"/>
                  <a:gd name="T61" fmla="*/ 34 h 40"/>
                  <a:gd name="T62" fmla="*/ 34 w 40"/>
                  <a:gd name="T63" fmla="*/ 30 h 40"/>
                  <a:gd name="T64" fmla="*/ 36 w 40"/>
                  <a:gd name="T65" fmla="*/ 22 h 40"/>
                  <a:gd name="T66" fmla="*/ 40 w 40"/>
                  <a:gd name="T67" fmla="*/ 20 h 40"/>
                  <a:gd name="T68" fmla="*/ 36 w 40"/>
                  <a:gd name="T69" fmla="*/ 17 h 40"/>
                  <a:gd name="T70" fmla="*/ 20 w 40"/>
                  <a:gd name="T71" fmla="*/ 30 h 40"/>
                  <a:gd name="T72" fmla="*/ 11 w 40"/>
                  <a:gd name="T73" fmla="*/ 21 h 40"/>
                  <a:gd name="T74" fmla="*/ 20 w 40"/>
                  <a:gd name="T75" fmla="*/ 12 h 40"/>
                  <a:gd name="T76" fmla="*/ 29 w 40"/>
                  <a:gd name="T77" fmla="*/ 21 h 40"/>
                  <a:gd name="T78" fmla="*/ 20 w 40"/>
                  <a:gd name="T79" fmla="*/ 30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40" h="40">
                    <a:moveTo>
                      <a:pt x="36" y="17"/>
                    </a:moveTo>
                    <a:cubicBezTo>
                      <a:pt x="34" y="16"/>
                      <a:pt x="32" y="12"/>
                      <a:pt x="33" y="10"/>
                    </a:cubicBezTo>
                    <a:cubicBezTo>
                      <a:pt x="34" y="8"/>
                      <a:pt x="35" y="7"/>
                      <a:pt x="33" y="6"/>
                    </a:cubicBezTo>
                    <a:cubicBezTo>
                      <a:pt x="32" y="4"/>
                      <a:pt x="31" y="6"/>
                      <a:pt x="29" y="7"/>
                    </a:cubicBezTo>
                    <a:cubicBezTo>
                      <a:pt x="29" y="7"/>
                      <a:pt x="28" y="7"/>
                      <a:pt x="28" y="7"/>
                    </a:cubicBezTo>
                    <a:cubicBezTo>
                      <a:pt x="26" y="7"/>
                      <a:pt x="22" y="6"/>
                      <a:pt x="22" y="2"/>
                    </a:cubicBezTo>
                    <a:cubicBezTo>
                      <a:pt x="22" y="0"/>
                      <a:pt x="21" y="0"/>
                      <a:pt x="20" y="0"/>
                    </a:cubicBezTo>
                    <a:cubicBezTo>
                      <a:pt x="19" y="0"/>
                      <a:pt x="18" y="0"/>
                      <a:pt x="18" y="1"/>
                    </a:cubicBezTo>
                    <a:cubicBezTo>
                      <a:pt x="18" y="3"/>
                      <a:pt x="17" y="4"/>
                      <a:pt x="16" y="5"/>
                    </a:cubicBezTo>
                    <a:cubicBezTo>
                      <a:pt x="15" y="6"/>
                      <a:pt x="13" y="7"/>
                      <a:pt x="11" y="7"/>
                    </a:cubicBezTo>
                    <a:cubicBezTo>
                      <a:pt x="10" y="7"/>
                      <a:pt x="9" y="6"/>
                      <a:pt x="8" y="6"/>
                    </a:cubicBezTo>
                    <a:cubicBezTo>
                      <a:pt x="7" y="5"/>
                      <a:pt x="6" y="5"/>
                      <a:pt x="5" y="6"/>
                    </a:cubicBezTo>
                    <a:cubicBezTo>
                      <a:pt x="4" y="7"/>
                      <a:pt x="5" y="8"/>
                      <a:pt x="5" y="9"/>
                    </a:cubicBezTo>
                    <a:cubicBezTo>
                      <a:pt x="6" y="10"/>
                      <a:pt x="7" y="11"/>
                      <a:pt x="7" y="12"/>
                    </a:cubicBezTo>
                    <a:cubicBezTo>
                      <a:pt x="7" y="13"/>
                      <a:pt x="6" y="15"/>
                      <a:pt x="5" y="17"/>
                    </a:cubicBezTo>
                    <a:cubicBezTo>
                      <a:pt x="4" y="17"/>
                      <a:pt x="3" y="18"/>
                      <a:pt x="1" y="18"/>
                    </a:cubicBezTo>
                    <a:cubicBezTo>
                      <a:pt x="0" y="18"/>
                      <a:pt x="0" y="19"/>
                      <a:pt x="0" y="20"/>
                    </a:cubicBezTo>
                    <a:cubicBezTo>
                      <a:pt x="0" y="21"/>
                      <a:pt x="0" y="22"/>
                      <a:pt x="2" y="22"/>
                    </a:cubicBezTo>
                    <a:cubicBezTo>
                      <a:pt x="3" y="22"/>
                      <a:pt x="4" y="22"/>
                      <a:pt x="5" y="23"/>
                    </a:cubicBezTo>
                    <a:cubicBezTo>
                      <a:pt x="6" y="25"/>
                      <a:pt x="6" y="26"/>
                      <a:pt x="7" y="28"/>
                    </a:cubicBezTo>
                    <a:cubicBezTo>
                      <a:pt x="7" y="29"/>
                      <a:pt x="6" y="30"/>
                      <a:pt x="5" y="31"/>
                    </a:cubicBezTo>
                    <a:cubicBezTo>
                      <a:pt x="5" y="32"/>
                      <a:pt x="4" y="33"/>
                      <a:pt x="6" y="34"/>
                    </a:cubicBezTo>
                    <a:cubicBezTo>
                      <a:pt x="7" y="35"/>
                      <a:pt x="7" y="35"/>
                      <a:pt x="9" y="34"/>
                    </a:cubicBezTo>
                    <a:cubicBezTo>
                      <a:pt x="9" y="34"/>
                      <a:pt x="11" y="33"/>
                      <a:pt x="11" y="33"/>
                    </a:cubicBezTo>
                    <a:cubicBezTo>
                      <a:pt x="13" y="33"/>
                      <a:pt x="15" y="34"/>
                      <a:pt x="16" y="35"/>
                    </a:cubicBezTo>
                    <a:cubicBezTo>
                      <a:pt x="17" y="36"/>
                      <a:pt x="17" y="37"/>
                      <a:pt x="18" y="38"/>
                    </a:cubicBezTo>
                    <a:cubicBezTo>
                      <a:pt x="18" y="39"/>
                      <a:pt x="18" y="40"/>
                      <a:pt x="19" y="40"/>
                    </a:cubicBezTo>
                    <a:cubicBezTo>
                      <a:pt x="21" y="40"/>
                      <a:pt x="22" y="40"/>
                      <a:pt x="22" y="38"/>
                    </a:cubicBezTo>
                    <a:cubicBezTo>
                      <a:pt x="22" y="37"/>
                      <a:pt x="23" y="35"/>
                      <a:pt x="23" y="35"/>
                    </a:cubicBezTo>
                    <a:cubicBezTo>
                      <a:pt x="26" y="34"/>
                      <a:pt x="29" y="32"/>
                      <a:pt x="31" y="34"/>
                    </a:cubicBezTo>
                    <a:cubicBezTo>
                      <a:pt x="31" y="34"/>
                      <a:pt x="33" y="35"/>
                      <a:pt x="34" y="34"/>
                    </a:cubicBezTo>
                    <a:cubicBezTo>
                      <a:pt x="36" y="32"/>
                      <a:pt x="35" y="31"/>
                      <a:pt x="34" y="30"/>
                    </a:cubicBezTo>
                    <a:cubicBezTo>
                      <a:pt x="32" y="27"/>
                      <a:pt x="34" y="22"/>
                      <a:pt x="36" y="22"/>
                    </a:cubicBezTo>
                    <a:cubicBezTo>
                      <a:pt x="39" y="22"/>
                      <a:pt x="40" y="22"/>
                      <a:pt x="40" y="20"/>
                    </a:cubicBezTo>
                    <a:cubicBezTo>
                      <a:pt x="40" y="17"/>
                      <a:pt x="37" y="18"/>
                      <a:pt x="36" y="17"/>
                    </a:cubicBezTo>
                    <a:close/>
                    <a:moveTo>
                      <a:pt x="20" y="30"/>
                    </a:moveTo>
                    <a:cubicBezTo>
                      <a:pt x="15" y="30"/>
                      <a:pt x="11" y="26"/>
                      <a:pt x="11" y="21"/>
                    </a:cubicBezTo>
                    <a:cubicBezTo>
                      <a:pt x="11" y="16"/>
                      <a:pt x="15" y="12"/>
                      <a:pt x="20" y="12"/>
                    </a:cubicBezTo>
                    <a:cubicBezTo>
                      <a:pt x="25" y="12"/>
                      <a:pt x="29" y="16"/>
                      <a:pt x="29" y="21"/>
                    </a:cubicBezTo>
                    <a:cubicBezTo>
                      <a:pt x="29" y="26"/>
                      <a:pt x="25" y="30"/>
                      <a:pt x="20" y="30"/>
                    </a:cubicBezTo>
                    <a:close/>
                  </a:path>
                </a:pathLst>
              </a:custGeom>
              <a:noFill/>
              <a:ln w="4" cap="rnd">
                <a:solidFill>
                  <a:schemeClr val="accent5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45" name="Freeform 529"/>
              <p:cNvSpPr>
                <a:spLocks noEditPoints="1"/>
              </p:cNvSpPr>
              <p:nvPr/>
            </p:nvSpPr>
            <p:spPr bwMode="auto">
              <a:xfrm>
                <a:off x="2749551" y="6107113"/>
                <a:ext cx="127000" cy="127000"/>
              </a:xfrm>
              <a:custGeom>
                <a:avLst/>
                <a:gdLst>
                  <a:gd name="T0" fmla="*/ 37 w 40"/>
                  <a:gd name="T1" fmla="*/ 17 h 40"/>
                  <a:gd name="T2" fmla="*/ 33 w 40"/>
                  <a:gd name="T3" fmla="*/ 10 h 40"/>
                  <a:gd name="T4" fmla="*/ 34 w 40"/>
                  <a:gd name="T5" fmla="*/ 6 h 40"/>
                  <a:gd name="T6" fmla="*/ 30 w 40"/>
                  <a:gd name="T7" fmla="*/ 7 h 40"/>
                  <a:gd name="T8" fmla="*/ 29 w 40"/>
                  <a:gd name="T9" fmla="*/ 7 h 40"/>
                  <a:gd name="T10" fmla="*/ 22 w 40"/>
                  <a:gd name="T11" fmla="*/ 2 h 40"/>
                  <a:gd name="T12" fmla="*/ 21 w 40"/>
                  <a:gd name="T13" fmla="*/ 0 h 40"/>
                  <a:gd name="T14" fmla="*/ 18 w 40"/>
                  <a:gd name="T15" fmla="*/ 1 h 40"/>
                  <a:gd name="T16" fmla="*/ 17 w 40"/>
                  <a:gd name="T17" fmla="*/ 5 h 40"/>
                  <a:gd name="T18" fmla="*/ 12 w 40"/>
                  <a:gd name="T19" fmla="*/ 7 h 40"/>
                  <a:gd name="T20" fmla="*/ 9 w 40"/>
                  <a:gd name="T21" fmla="*/ 5 h 40"/>
                  <a:gd name="T22" fmla="*/ 6 w 40"/>
                  <a:gd name="T23" fmla="*/ 6 h 40"/>
                  <a:gd name="T24" fmla="*/ 6 w 40"/>
                  <a:gd name="T25" fmla="*/ 9 h 40"/>
                  <a:gd name="T26" fmla="*/ 7 w 40"/>
                  <a:gd name="T27" fmla="*/ 12 h 40"/>
                  <a:gd name="T28" fmla="*/ 5 w 40"/>
                  <a:gd name="T29" fmla="*/ 17 h 40"/>
                  <a:gd name="T30" fmla="*/ 2 w 40"/>
                  <a:gd name="T31" fmla="*/ 18 h 40"/>
                  <a:gd name="T32" fmla="*/ 0 w 40"/>
                  <a:gd name="T33" fmla="*/ 20 h 40"/>
                  <a:gd name="T34" fmla="*/ 2 w 40"/>
                  <a:gd name="T35" fmla="*/ 22 h 40"/>
                  <a:gd name="T36" fmla="*/ 5 w 40"/>
                  <a:gd name="T37" fmla="*/ 23 h 40"/>
                  <a:gd name="T38" fmla="*/ 7 w 40"/>
                  <a:gd name="T39" fmla="*/ 28 h 40"/>
                  <a:gd name="T40" fmla="*/ 6 w 40"/>
                  <a:gd name="T41" fmla="*/ 31 h 40"/>
                  <a:gd name="T42" fmla="*/ 6 w 40"/>
                  <a:gd name="T43" fmla="*/ 34 h 40"/>
                  <a:gd name="T44" fmla="*/ 9 w 40"/>
                  <a:gd name="T45" fmla="*/ 34 h 40"/>
                  <a:gd name="T46" fmla="*/ 12 w 40"/>
                  <a:gd name="T47" fmla="*/ 33 h 40"/>
                  <a:gd name="T48" fmla="*/ 17 w 40"/>
                  <a:gd name="T49" fmla="*/ 35 h 40"/>
                  <a:gd name="T50" fmla="*/ 18 w 40"/>
                  <a:gd name="T51" fmla="*/ 38 h 40"/>
                  <a:gd name="T52" fmla="*/ 20 w 40"/>
                  <a:gd name="T53" fmla="*/ 40 h 40"/>
                  <a:gd name="T54" fmla="*/ 22 w 40"/>
                  <a:gd name="T55" fmla="*/ 38 h 40"/>
                  <a:gd name="T56" fmla="*/ 24 w 40"/>
                  <a:gd name="T57" fmla="*/ 35 h 40"/>
                  <a:gd name="T58" fmla="*/ 32 w 40"/>
                  <a:gd name="T59" fmla="*/ 34 h 40"/>
                  <a:gd name="T60" fmla="*/ 35 w 40"/>
                  <a:gd name="T61" fmla="*/ 34 h 40"/>
                  <a:gd name="T62" fmla="*/ 35 w 40"/>
                  <a:gd name="T63" fmla="*/ 30 h 40"/>
                  <a:gd name="T64" fmla="*/ 37 w 40"/>
                  <a:gd name="T65" fmla="*/ 22 h 40"/>
                  <a:gd name="T66" fmla="*/ 40 w 40"/>
                  <a:gd name="T67" fmla="*/ 20 h 40"/>
                  <a:gd name="T68" fmla="*/ 37 w 40"/>
                  <a:gd name="T69" fmla="*/ 17 h 40"/>
                  <a:gd name="T70" fmla="*/ 21 w 40"/>
                  <a:gd name="T71" fmla="*/ 30 h 40"/>
                  <a:gd name="T72" fmla="*/ 12 w 40"/>
                  <a:gd name="T73" fmla="*/ 21 h 40"/>
                  <a:gd name="T74" fmla="*/ 21 w 40"/>
                  <a:gd name="T75" fmla="*/ 12 h 40"/>
                  <a:gd name="T76" fmla="*/ 30 w 40"/>
                  <a:gd name="T77" fmla="*/ 21 h 40"/>
                  <a:gd name="T78" fmla="*/ 21 w 40"/>
                  <a:gd name="T79" fmla="*/ 30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40" h="40">
                    <a:moveTo>
                      <a:pt x="37" y="17"/>
                    </a:moveTo>
                    <a:cubicBezTo>
                      <a:pt x="34" y="16"/>
                      <a:pt x="32" y="12"/>
                      <a:pt x="33" y="10"/>
                    </a:cubicBezTo>
                    <a:cubicBezTo>
                      <a:pt x="34" y="8"/>
                      <a:pt x="35" y="7"/>
                      <a:pt x="34" y="6"/>
                    </a:cubicBezTo>
                    <a:cubicBezTo>
                      <a:pt x="32" y="4"/>
                      <a:pt x="31" y="6"/>
                      <a:pt x="30" y="7"/>
                    </a:cubicBezTo>
                    <a:cubicBezTo>
                      <a:pt x="30" y="7"/>
                      <a:pt x="29" y="7"/>
                      <a:pt x="29" y="7"/>
                    </a:cubicBezTo>
                    <a:cubicBezTo>
                      <a:pt x="27" y="7"/>
                      <a:pt x="22" y="6"/>
                      <a:pt x="22" y="2"/>
                    </a:cubicBezTo>
                    <a:cubicBezTo>
                      <a:pt x="22" y="0"/>
                      <a:pt x="22" y="0"/>
                      <a:pt x="21" y="0"/>
                    </a:cubicBezTo>
                    <a:cubicBezTo>
                      <a:pt x="19" y="0"/>
                      <a:pt x="19" y="0"/>
                      <a:pt x="18" y="1"/>
                    </a:cubicBezTo>
                    <a:cubicBezTo>
                      <a:pt x="18" y="3"/>
                      <a:pt x="18" y="4"/>
                      <a:pt x="17" y="5"/>
                    </a:cubicBezTo>
                    <a:cubicBezTo>
                      <a:pt x="16" y="6"/>
                      <a:pt x="14" y="7"/>
                      <a:pt x="12" y="7"/>
                    </a:cubicBezTo>
                    <a:cubicBezTo>
                      <a:pt x="11" y="7"/>
                      <a:pt x="10" y="6"/>
                      <a:pt x="9" y="5"/>
                    </a:cubicBezTo>
                    <a:cubicBezTo>
                      <a:pt x="8" y="5"/>
                      <a:pt x="7" y="5"/>
                      <a:pt x="6" y="6"/>
                    </a:cubicBezTo>
                    <a:cubicBezTo>
                      <a:pt x="5" y="7"/>
                      <a:pt x="5" y="8"/>
                      <a:pt x="6" y="9"/>
                    </a:cubicBezTo>
                    <a:cubicBezTo>
                      <a:pt x="6" y="10"/>
                      <a:pt x="7" y="11"/>
                      <a:pt x="7" y="12"/>
                    </a:cubicBezTo>
                    <a:cubicBezTo>
                      <a:pt x="7" y="13"/>
                      <a:pt x="6" y="15"/>
                      <a:pt x="5" y="17"/>
                    </a:cubicBezTo>
                    <a:cubicBezTo>
                      <a:pt x="5" y="17"/>
                      <a:pt x="3" y="18"/>
                      <a:pt x="2" y="18"/>
                    </a:cubicBezTo>
                    <a:cubicBezTo>
                      <a:pt x="1" y="18"/>
                      <a:pt x="0" y="19"/>
                      <a:pt x="0" y="20"/>
                    </a:cubicBezTo>
                    <a:cubicBezTo>
                      <a:pt x="0" y="21"/>
                      <a:pt x="1" y="22"/>
                      <a:pt x="2" y="22"/>
                    </a:cubicBezTo>
                    <a:cubicBezTo>
                      <a:pt x="3" y="22"/>
                      <a:pt x="5" y="22"/>
                      <a:pt x="5" y="23"/>
                    </a:cubicBezTo>
                    <a:cubicBezTo>
                      <a:pt x="6" y="25"/>
                      <a:pt x="7" y="26"/>
                      <a:pt x="7" y="28"/>
                    </a:cubicBezTo>
                    <a:cubicBezTo>
                      <a:pt x="7" y="29"/>
                      <a:pt x="6" y="30"/>
                      <a:pt x="6" y="31"/>
                    </a:cubicBezTo>
                    <a:cubicBezTo>
                      <a:pt x="5" y="32"/>
                      <a:pt x="5" y="33"/>
                      <a:pt x="6" y="34"/>
                    </a:cubicBezTo>
                    <a:cubicBezTo>
                      <a:pt x="7" y="35"/>
                      <a:pt x="8" y="35"/>
                      <a:pt x="9" y="34"/>
                    </a:cubicBezTo>
                    <a:cubicBezTo>
                      <a:pt x="10" y="34"/>
                      <a:pt x="11" y="33"/>
                      <a:pt x="12" y="33"/>
                    </a:cubicBezTo>
                    <a:cubicBezTo>
                      <a:pt x="14" y="33"/>
                      <a:pt x="15" y="34"/>
                      <a:pt x="17" y="35"/>
                    </a:cubicBezTo>
                    <a:cubicBezTo>
                      <a:pt x="18" y="36"/>
                      <a:pt x="18" y="37"/>
                      <a:pt x="18" y="38"/>
                    </a:cubicBezTo>
                    <a:cubicBezTo>
                      <a:pt x="18" y="39"/>
                      <a:pt x="18" y="40"/>
                      <a:pt x="20" y="40"/>
                    </a:cubicBezTo>
                    <a:cubicBezTo>
                      <a:pt x="21" y="40"/>
                      <a:pt x="22" y="40"/>
                      <a:pt x="22" y="38"/>
                    </a:cubicBezTo>
                    <a:cubicBezTo>
                      <a:pt x="23" y="37"/>
                      <a:pt x="23" y="35"/>
                      <a:pt x="24" y="35"/>
                    </a:cubicBezTo>
                    <a:cubicBezTo>
                      <a:pt x="27" y="34"/>
                      <a:pt x="29" y="32"/>
                      <a:pt x="32" y="34"/>
                    </a:cubicBezTo>
                    <a:cubicBezTo>
                      <a:pt x="32" y="34"/>
                      <a:pt x="33" y="35"/>
                      <a:pt x="35" y="34"/>
                    </a:cubicBezTo>
                    <a:cubicBezTo>
                      <a:pt x="36" y="32"/>
                      <a:pt x="35" y="31"/>
                      <a:pt x="35" y="30"/>
                    </a:cubicBezTo>
                    <a:cubicBezTo>
                      <a:pt x="32" y="27"/>
                      <a:pt x="34" y="22"/>
                      <a:pt x="37" y="22"/>
                    </a:cubicBezTo>
                    <a:cubicBezTo>
                      <a:pt x="39" y="22"/>
                      <a:pt x="40" y="22"/>
                      <a:pt x="40" y="20"/>
                    </a:cubicBezTo>
                    <a:cubicBezTo>
                      <a:pt x="40" y="17"/>
                      <a:pt x="38" y="18"/>
                      <a:pt x="37" y="17"/>
                    </a:cubicBezTo>
                    <a:close/>
                    <a:moveTo>
                      <a:pt x="21" y="30"/>
                    </a:moveTo>
                    <a:cubicBezTo>
                      <a:pt x="16" y="30"/>
                      <a:pt x="12" y="26"/>
                      <a:pt x="12" y="21"/>
                    </a:cubicBezTo>
                    <a:cubicBezTo>
                      <a:pt x="12" y="16"/>
                      <a:pt x="16" y="12"/>
                      <a:pt x="21" y="12"/>
                    </a:cubicBezTo>
                    <a:cubicBezTo>
                      <a:pt x="26" y="12"/>
                      <a:pt x="30" y="16"/>
                      <a:pt x="30" y="21"/>
                    </a:cubicBezTo>
                    <a:cubicBezTo>
                      <a:pt x="30" y="26"/>
                      <a:pt x="26" y="30"/>
                      <a:pt x="21" y="30"/>
                    </a:cubicBezTo>
                    <a:close/>
                  </a:path>
                </a:pathLst>
              </a:custGeom>
              <a:noFill/>
              <a:ln w="4" cap="rnd">
                <a:solidFill>
                  <a:schemeClr val="accent5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46" name="Freeform 530"/>
              <p:cNvSpPr>
                <a:spLocks noEditPoints="1"/>
              </p:cNvSpPr>
              <p:nvPr/>
            </p:nvSpPr>
            <p:spPr bwMode="auto">
              <a:xfrm>
                <a:off x="2679701" y="5859463"/>
                <a:ext cx="225425" cy="228600"/>
              </a:xfrm>
              <a:custGeom>
                <a:avLst/>
                <a:gdLst>
                  <a:gd name="T0" fmla="*/ 66 w 71"/>
                  <a:gd name="T1" fmla="*/ 31 h 72"/>
                  <a:gd name="T2" fmla="*/ 59 w 71"/>
                  <a:gd name="T3" fmla="*/ 18 h 72"/>
                  <a:gd name="T4" fmla="*/ 60 w 71"/>
                  <a:gd name="T5" fmla="*/ 11 h 72"/>
                  <a:gd name="T6" fmla="*/ 53 w 71"/>
                  <a:gd name="T7" fmla="*/ 12 h 72"/>
                  <a:gd name="T8" fmla="*/ 51 w 71"/>
                  <a:gd name="T9" fmla="*/ 13 h 72"/>
                  <a:gd name="T10" fmla="*/ 39 w 71"/>
                  <a:gd name="T11" fmla="*/ 3 h 72"/>
                  <a:gd name="T12" fmla="*/ 36 w 71"/>
                  <a:gd name="T13" fmla="*/ 1 h 72"/>
                  <a:gd name="T14" fmla="*/ 32 w 71"/>
                  <a:gd name="T15" fmla="*/ 3 h 72"/>
                  <a:gd name="T16" fmla="*/ 30 w 71"/>
                  <a:gd name="T17" fmla="*/ 9 h 72"/>
                  <a:gd name="T18" fmla="*/ 21 w 71"/>
                  <a:gd name="T19" fmla="*/ 13 h 72"/>
                  <a:gd name="T20" fmla="*/ 15 w 71"/>
                  <a:gd name="T21" fmla="*/ 10 h 72"/>
                  <a:gd name="T22" fmla="*/ 10 w 71"/>
                  <a:gd name="T23" fmla="*/ 11 h 72"/>
                  <a:gd name="T24" fmla="*/ 10 w 71"/>
                  <a:gd name="T25" fmla="*/ 16 h 72"/>
                  <a:gd name="T26" fmla="*/ 13 w 71"/>
                  <a:gd name="T27" fmla="*/ 21 h 72"/>
                  <a:gd name="T28" fmla="*/ 9 w 71"/>
                  <a:gd name="T29" fmla="*/ 30 h 72"/>
                  <a:gd name="T30" fmla="*/ 3 w 71"/>
                  <a:gd name="T31" fmla="*/ 32 h 72"/>
                  <a:gd name="T32" fmla="*/ 0 w 71"/>
                  <a:gd name="T33" fmla="*/ 36 h 72"/>
                  <a:gd name="T34" fmla="*/ 3 w 71"/>
                  <a:gd name="T35" fmla="*/ 40 h 72"/>
                  <a:gd name="T36" fmla="*/ 9 w 71"/>
                  <a:gd name="T37" fmla="*/ 42 h 72"/>
                  <a:gd name="T38" fmla="*/ 13 w 71"/>
                  <a:gd name="T39" fmla="*/ 51 h 72"/>
                  <a:gd name="T40" fmla="*/ 10 w 71"/>
                  <a:gd name="T41" fmla="*/ 56 h 72"/>
                  <a:gd name="T42" fmla="*/ 10 w 71"/>
                  <a:gd name="T43" fmla="*/ 62 h 72"/>
                  <a:gd name="T44" fmla="*/ 16 w 71"/>
                  <a:gd name="T45" fmla="*/ 62 h 72"/>
                  <a:gd name="T46" fmla="*/ 21 w 71"/>
                  <a:gd name="T47" fmla="*/ 59 h 72"/>
                  <a:gd name="T48" fmla="*/ 30 w 71"/>
                  <a:gd name="T49" fmla="*/ 63 h 72"/>
                  <a:gd name="T50" fmla="*/ 32 w 71"/>
                  <a:gd name="T51" fmla="*/ 69 h 72"/>
                  <a:gd name="T52" fmla="*/ 35 w 71"/>
                  <a:gd name="T53" fmla="*/ 72 h 72"/>
                  <a:gd name="T54" fmla="*/ 40 w 71"/>
                  <a:gd name="T55" fmla="*/ 69 h 72"/>
                  <a:gd name="T56" fmla="*/ 42 w 71"/>
                  <a:gd name="T57" fmla="*/ 63 h 72"/>
                  <a:gd name="T58" fmla="*/ 56 w 71"/>
                  <a:gd name="T59" fmla="*/ 61 h 72"/>
                  <a:gd name="T60" fmla="*/ 62 w 71"/>
                  <a:gd name="T61" fmla="*/ 61 h 72"/>
                  <a:gd name="T62" fmla="*/ 61 w 71"/>
                  <a:gd name="T63" fmla="*/ 54 h 72"/>
                  <a:gd name="T64" fmla="*/ 65 w 71"/>
                  <a:gd name="T65" fmla="*/ 40 h 72"/>
                  <a:gd name="T66" fmla="*/ 71 w 71"/>
                  <a:gd name="T67" fmla="*/ 36 h 72"/>
                  <a:gd name="T68" fmla="*/ 66 w 71"/>
                  <a:gd name="T69" fmla="*/ 31 h 72"/>
                  <a:gd name="T70" fmla="*/ 36 w 71"/>
                  <a:gd name="T71" fmla="*/ 54 h 72"/>
                  <a:gd name="T72" fmla="*/ 20 w 71"/>
                  <a:gd name="T73" fmla="*/ 37 h 72"/>
                  <a:gd name="T74" fmla="*/ 37 w 71"/>
                  <a:gd name="T75" fmla="*/ 21 h 72"/>
                  <a:gd name="T76" fmla="*/ 53 w 71"/>
                  <a:gd name="T77" fmla="*/ 38 h 72"/>
                  <a:gd name="T78" fmla="*/ 36 w 71"/>
                  <a:gd name="T79" fmla="*/ 54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71" h="72">
                    <a:moveTo>
                      <a:pt x="66" y="31"/>
                    </a:moveTo>
                    <a:cubicBezTo>
                      <a:pt x="61" y="30"/>
                      <a:pt x="57" y="22"/>
                      <a:pt x="59" y="18"/>
                    </a:cubicBezTo>
                    <a:cubicBezTo>
                      <a:pt x="61" y="14"/>
                      <a:pt x="62" y="13"/>
                      <a:pt x="60" y="11"/>
                    </a:cubicBezTo>
                    <a:cubicBezTo>
                      <a:pt x="57" y="8"/>
                      <a:pt x="55" y="11"/>
                      <a:pt x="53" y="12"/>
                    </a:cubicBezTo>
                    <a:cubicBezTo>
                      <a:pt x="52" y="13"/>
                      <a:pt x="51" y="13"/>
                      <a:pt x="51" y="13"/>
                    </a:cubicBezTo>
                    <a:cubicBezTo>
                      <a:pt x="47" y="14"/>
                      <a:pt x="39" y="11"/>
                      <a:pt x="39" y="3"/>
                    </a:cubicBezTo>
                    <a:cubicBezTo>
                      <a:pt x="39" y="1"/>
                      <a:pt x="38" y="0"/>
                      <a:pt x="36" y="1"/>
                    </a:cubicBezTo>
                    <a:cubicBezTo>
                      <a:pt x="34" y="1"/>
                      <a:pt x="33" y="1"/>
                      <a:pt x="32" y="3"/>
                    </a:cubicBezTo>
                    <a:cubicBezTo>
                      <a:pt x="32" y="5"/>
                      <a:pt x="31" y="8"/>
                      <a:pt x="30" y="9"/>
                    </a:cubicBezTo>
                    <a:cubicBezTo>
                      <a:pt x="28" y="11"/>
                      <a:pt x="24" y="13"/>
                      <a:pt x="21" y="13"/>
                    </a:cubicBezTo>
                    <a:cubicBezTo>
                      <a:pt x="19" y="13"/>
                      <a:pt x="17" y="12"/>
                      <a:pt x="15" y="10"/>
                    </a:cubicBezTo>
                    <a:cubicBezTo>
                      <a:pt x="13" y="9"/>
                      <a:pt x="12" y="9"/>
                      <a:pt x="10" y="11"/>
                    </a:cubicBezTo>
                    <a:cubicBezTo>
                      <a:pt x="8" y="13"/>
                      <a:pt x="9" y="14"/>
                      <a:pt x="10" y="16"/>
                    </a:cubicBezTo>
                    <a:cubicBezTo>
                      <a:pt x="11" y="18"/>
                      <a:pt x="13" y="20"/>
                      <a:pt x="13" y="21"/>
                    </a:cubicBezTo>
                    <a:cubicBezTo>
                      <a:pt x="12" y="25"/>
                      <a:pt x="11" y="28"/>
                      <a:pt x="9" y="30"/>
                    </a:cubicBezTo>
                    <a:cubicBezTo>
                      <a:pt x="8" y="32"/>
                      <a:pt x="5" y="32"/>
                      <a:pt x="3" y="32"/>
                    </a:cubicBezTo>
                    <a:cubicBezTo>
                      <a:pt x="1" y="33"/>
                      <a:pt x="0" y="34"/>
                      <a:pt x="0" y="36"/>
                    </a:cubicBezTo>
                    <a:cubicBezTo>
                      <a:pt x="0" y="39"/>
                      <a:pt x="1" y="40"/>
                      <a:pt x="3" y="40"/>
                    </a:cubicBezTo>
                    <a:cubicBezTo>
                      <a:pt x="5" y="40"/>
                      <a:pt x="8" y="41"/>
                      <a:pt x="9" y="42"/>
                    </a:cubicBezTo>
                    <a:cubicBezTo>
                      <a:pt x="11" y="45"/>
                      <a:pt x="12" y="48"/>
                      <a:pt x="13" y="51"/>
                    </a:cubicBezTo>
                    <a:cubicBezTo>
                      <a:pt x="13" y="53"/>
                      <a:pt x="11" y="55"/>
                      <a:pt x="10" y="56"/>
                    </a:cubicBezTo>
                    <a:cubicBezTo>
                      <a:pt x="9" y="58"/>
                      <a:pt x="8" y="60"/>
                      <a:pt x="10" y="62"/>
                    </a:cubicBezTo>
                    <a:cubicBezTo>
                      <a:pt x="12" y="64"/>
                      <a:pt x="14" y="63"/>
                      <a:pt x="16" y="62"/>
                    </a:cubicBezTo>
                    <a:cubicBezTo>
                      <a:pt x="17" y="61"/>
                      <a:pt x="19" y="59"/>
                      <a:pt x="21" y="59"/>
                    </a:cubicBezTo>
                    <a:cubicBezTo>
                      <a:pt x="24" y="60"/>
                      <a:pt x="27" y="61"/>
                      <a:pt x="30" y="63"/>
                    </a:cubicBezTo>
                    <a:cubicBezTo>
                      <a:pt x="31" y="64"/>
                      <a:pt x="31" y="67"/>
                      <a:pt x="32" y="69"/>
                    </a:cubicBezTo>
                    <a:cubicBezTo>
                      <a:pt x="32" y="71"/>
                      <a:pt x="32" y="72"/>
                      <a:pt x="35" y="72"/>
                    </a:cubicBezTo>
                    <a:cubicBezTo>
                      <a:pt x="38" y="72"/>
                      <a:pt x="39" y="72"/>
                      <a:pt x="40" y="69"/>
                    </a:cubicBezTo>
                    <a:cubicBezTo>
                      <a:pt x="40" y="67"/>
                      <a:pt x="41" y="64"/>
                      <a:pt x="42" y="63"/>
                    </a:cubicBezTo>
                    <a:cubicBezTo>
                      <a:pt x="47" y="61"/>
                      <a:pt x="51" y="57"/>
                      <a:pt x="56" y="61"/>
                    </a:cubicBezTo>
                    <a:cubicBezTo>
                      <a:pt x="56" y="62"/>
                      <a:pt x="59" y="64"/>
                      <a:pt x="62" y="61"/>
                    </a:cubicBezTo>
                    <a:cubicBezTo>
                      <a:pt x="64" y="58"/>
                      <a:pt x="63" y="56"/>
                      <a:pt x="61" y="54"/>
                    </a:cubicBezTo>
                    <a:cubicBezTo>
                      <a:pt x="57" y="49"/>
                      <a:pt x="61" y="40"/>
                      <a:pt x="65" y="40"/>
                    </a:cubicBezTo>
                    <a:cubicBezTo>
                      <a:pt x="70" y="40"/>
                      <a:pt x="71" y="39"/>
                      <a:pt x="71" y="36"/>
                    </a:cubicBezTo>
                    <a:cubicBezTo>
                      <a:pt x="71" y="32"/>
                      <a:pt x="67" y="32"/>
                      <a:pt x="66" y="31"/>
                    </a:cubicBezTo>
                    <a:close/>
                    <a:moveTo>
                      <a:pt x="36" y="54"/>
                    </a:moveTo>
                    <a:cubicBezTo>
                      <a:pt x="27" y="54"/>
                      <a:pt x="20" y="46"/>
                      <a:pt x="20" y="37"/>
                    </a:cubicBezTo>
                    <a:cubicBezTo>
                      <a:pt x="20" y="29"/>
                      <a:pt x="28" y="21"/>
                      <a:pt x="37" y="21"/>
                    </a:cubicBezTo>
                    <a:cubicBezTo>
                      <a:pt x="45" y="21"/>
                      <a:pt x="53" y="29"/>
                      <a:pt x="53" y="38"/>
                    </a:cubicBezTo>
                    <a:cubicBezTo>
                      <a:pt x="53" y="47"/>
                      <a:pt x="45" y="54"/>
                      <a:pt x="36" y="54"/>
                    </a:cubicBezTo>
                    <a:close/>
                  </a:path>
                </a:pathLst>
              </a:custGeom>
              <a:noFill/>
              <a:ln w="4" cap="rnd">
                <a:solidFill>
                  <a:schemeClr val="accent5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latin typeface="Arial" pitchFamily="34" charset="0"/>
                  <a:cs typeface="Arial" pitchFamily="34" charset="0"/>
                </a:endParaRPr>
              </a:p>
            </p:txBody>
          </p:sp>
        </p:grpSp>
        <p:grpSp>
          <p:nvGrpSpPr>
            <p:cNvPr id="138" name="Group 44"/>
            <p:cNvGrpSpPr/>
            <p:nvPr/>
          </p:nvGrpSpPr>
          <p:grpSpPr>
            <a:xfrm>
              <a:off x="6106879" y="1727208"/>
              <a:ext cx="290294" cy="271509"/>
              <a:chOff x="2497138" y="5654676"/>
              <a:chExt cx="700088" cy="700088"/>
            </a:xfrm>
          </p:grpSpPr>
          <p:sp>
            <p:nvSpPr>
              <p:cNvPr id="139" name="Freeform 527"/>
              <p:cNvSpPr>
                <a:spLocks noEditPoints="1"/>
              </p:cNvSpPr>
              <p:nvPr/>
            </p:nvSpPr>
            <p:spPr bwMode="auto">
              <a:xfrm>
                <a:off x="2497138" y="5654676"/>
                <a:ext cx="700088" cy="700088"/>
              </a:xfrm>
              <a:custGeom>
                <a:avLst/>
                <a:gdLst>
                  <a:gd name="T0" fmla="*/ 122 w 220"/>
                  <a:gd name="T1" fmla="*/ 220 h 220"/>
                  <a:gd name="T2" fmla="*/ 41 w 220"/>
                  <a:gd name="T3" fmla="*/ 220 h 220"/>
                  <a:gd name="T4" fmla="*/ 0 w 220"/>
                  <a:gd name="T5" fmla="*/ 178 h 220"/>
                  <a:gd name="T6" fmla="*/ 0 w 220"/>
                  <a:gd name="T7" fmla="*/ 41 h 220"/>
                  <a:gd name="T8" fmla="*/ 41 w 220"/>
                  <a:gd name="T9" fmla="*/ 0 h 220"/>
                  <a:gd name="T10" fmla="*/ 179 w 220"/>
                  <a:gd name="T11" fmla="*/ 0 h 220"/>
                  <a:gd name="T12" fmla="*/ 220 w 220"/>
                  <a:gd name="T13" fmla="*/ 41 h 220"/>
                  <a:gd name="T14" fmla="*/ 220 w 220"/>
                  <a:gd name="T15" fmla="*/ 178 h 220"/>
                  <a:gd name="T16" fmla="*/ 179 w 220"/>
                  <a:gd name="T17" fmla="*/ 220 h 220"/>
                  <a:gd name="T18" fmla="*/ 160 w 220"/>
                  <a:gd name="T19" fmla="*/ 220 h 220"/>
                  <a:gd name="T20" fmla="*/ 41 w 220"/>
                  <a:gd name="T21" fmla="*/ 13 h 220"/>
                  <a:gd name="T22" fmla="*/ 27 w 220"/>
                  <a:gd name="T23" fmla="*/ 27 h 220"/>
                  <a:gd name="T24" fmla="*/ 41 w 220"/>
                  <a:gd name="T25" fmla="*/ 41 h 220"/>
                  <a:gd name="T26" fmla="*/ 55 w 220"/>
                  <a:gd name="T27" fmla="*/ 27 h 220"/>
                  <a:gd name="T28" fmla="*/ 41 w 220"/>
                  <a:gd name="T29" fmla="*/ 13 h 220"/>
                  <a:gd name="T30" fmla="*/ 192 w 220"/>
                  <a:gd name="T31" fmla="*/ 55 h 220"/>
                  <a:gd name="T32" fmla="*/ 27 w 220"/>
                  <a:gd name="T33" fmla="*/ 55 h 220"/>
                  <a:gd name="T34" fmla="*/ 27 w 220"/>
                  <a:gd name="T35" fmla="*/ 178 h 220"/>
                  <a:gd name="T36" fmla="*/ 41 w 220"/>
                  <a:gd name="T37" fmla="*/ 192 h 220"/>
                  <a:gd name="T38" fmla="*/ 179 w 220"/>
                  <a:gd name="T39" fmla="*/ 192 h 220"/>
                  <a:gd name="T40" fmla="*/ 192 w 220"/>
                  <a:gd name="T41" fmla="*/ 178 h 220"/>
                  <a:gd name="T42" fmla="*/ 192 w 220"/>
                  <a:gd name="T43" fmla="*/ 55 h 2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220" h="220">
                    <a:moveTo>
                      <a:pt x="122" y="220"/>
                    </a:moveTo>
                    <a:cubicBezTo>
                      <a:pt x="41" y="220"/>
                      <a:pt x="41" y="220"/>
                      <a:pt x="41" y="220"/>
                    </a:cubicBezTo>
                    <a:cubicBezTo>
                      <a:pt x="18" y="220"/>
                      <a:pt x="0" y="201"/>
                      <a:pt x="0" y="178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18"/>
                      <a:pt x="18" y="0"/>
                      <a:pt x="41" y="0"/>
                    </a:cubicBezTo>
                    <a:cubicBezTo>
                      <a:pt x="179" y="0"/>
                      <a:pt x="179" y="0"/>
                      <a:pt x="179" y="0"/>
                    </a:cubicBezTo>
                    <a:cubicBezTo>
                      <a:pt x="201" y="0"/>
                      <a:pt x="220" y="18"/>
                      <a:pt x="220" y="41"/>
                    </a:cubicBezTo>
                    <a:cubicBezTo>
                      <a:pt x="220" y="178"/>
                      <a:pt x="220" y="178"/>
                      <a:pt x="220" y="178"/>
                    </a:cubicBezTo>
                    <a:cubicBezTo>
                      <a:pt x="220" y="201"/>
                      <a:pt x="201" y="220"/>
                      <a:pt x="179" y="220"/>
                    </a:cubicBezTo>
                    <a:cubicBezTo>
                      <a:pt x="160" y="220"/>
                      <a:pt x="160" y="220"/>
                      <a:pt x="160" y="220"/>
                    </a:cubicBezTo>
                    <a:moveTo>
                      <a:pt x="41" y="13"/>
                    </a:moveTo>
                    <a:cubicBezTo>
                      <a:pt x="33" y="13"/>
                      <a:pt x="27" y="19"/>
                      <a:pt x="27" y="27"/>
                    </a:cubicBezTo>
                    <a:cubicBezTo>
                      <a:pt x="27" y="35"/>
                      <a:pt x="33" y="41"/>
                      <a:pt x="41" y="41"/>
                    </a:cubicBezTo>
                    <a:cubicBezTo>
                      <a:pt x="49" y="41"/>
                      <a:pt x="55" y="35"/>
                      <a:pt x="55" y="27"/>
                    </a:cubicBezTo>
                    <a:cubicBezTo>
                      <a:pt x="55" y="19"/>
                      <a:pt x="49" y="13"/>
                      <a:pt x="41" y="13"/>
                    </a:cubicBezTo>
                    <a:close/>
                    <a:moveTo>
                      <a:pt x="192" y="55"/>
                    </a:moveTo>
                    <a:cubicBezTo>
                      <a:pt x="27" y="55"/>
                      <a:pt x="27" y="55"/>
                      <a:pt x="27" y="55"/>
                    </a:cubicBezTo>
                    <a:cubicBezTo>
                      <a:pt x="27" y="178"/>
                      <a:pt x="27" y="178"/>
                      <a:pt x="27" y="178"/>
                    </a:cubicBezTo>
                    <a:cubicBezTo>
                      <a:pt x="27" y="186"/>
                      <a:pt x="33" y="192"/>
                      <a:pt x="41" y="192"/>
                    </a:cubicBezTo>
                    <a:cubicBezTo>
                      <a:pt x="179" y="192"/>
                      <a:pt x="179" y="192"/>
                      <a:pt x="179" y="192"/>
                    </a:cubicBezTo>
                    <a:cubicBezTo>
                      <a:pt x="186" y="192"/>
                      <a:pt x="192" y="186"/>
                      <a:pt x="192" y="178"/>
                    </a:cubicBezTo>
                    <a:lnTo>
                      <a:pt x="192" y="55"/>
                    </a:lnTo>
                    <a:close/>
                  </a:path>
                </a:pathLst>
              </a:custGeom>
              <a:noFill/>
              <a:ln w="8" cap="rnd">
                <a:solidFill>
                  <a:schemeClr val="accent5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40" name="Freeform 528"/>
              <p:cNvSpPr>
                <a:spLocks noEditPoints="1"/>
              </p:cNvSpPr>
              <p:nvPr/>
            </p:nvSpPr>
            <p:spPr bwMode="auto">
              <a:xfrm>
                <a:off x="2921001" y="5875338"/>
                <a:ext cx="127000" cy="127000"/>
              </a:xfrm>
              <a:custGeom>
                <a:avLst/>
                <a:gdLst>
                  <a:gd name="T0" fmla="*/ 36 w 40"/>
                  <a:gd name="T1" fmla="*/ 17 h 40"/>
                  <a:gd name="T2" fmla="*/ 33 w 40"/>
                  <a:gd name="T3" fmla="*/ 10 h 40"/>
                  <a:gd name="T4" fmla="*/ 33 w 40"/>
                  <a:gd name="T5" fmla="*/ 6 h 40"/>
                  <a:gd name="T6" fmla="*/ 29 w 40"/>
                  <a:gd name="T7" fmla="*/ 7 h 40"/>
                  <a:gd name="T8" fmla="*/ 28 w 40"/>
                  <a:gd name="T9" fmla="*/ 7 h 40"/>
                  <a:gd name="T10" fmla="*/ 22 w 40"/>
                  <a:gd name="T11" fmla="*/ 2 h 40"/>
                  <a:gd name="T12" fmla="*/ 20 w 40"/>
                  <a:gd name="T13" fmla="*/ 0 h 40"/>
                  <a:gd name="T14" fmla="*/ 18 w 40"/>
                  <a:gd name="T15" fmla="*/ 1 h 40"/>
                  <a:gd name="T16" fmla="*/ 16 w 40"/>
                  <a:gd name="T17" fmla="*/ 5 h 40"/>
                  <a:gd name="T18" fmla="*/ 11 w 40"/>
                  <a:gd name="T19" fmla="*/ 7 h 40"/>
                  <a:gd name="T20" fmla="*/ 8 w 40"/>
                  <a:gd name="T21" fmla="*/ 6 h 40"/>
                  <a:gd name="T22" fmla="*/ 5 w 40"/>
                  <a:gd name="T23" fmla="*/ 6 h 40"/>
                  <a:gd name="T24" fmla="*/ 5 w 40"/>
                  <a:gd name="T25" fmla="*/ 9 h 40"/>
                  <a:gd name="T26" fmla="*/ 7 w 40"/>
                  <a:gd name="T27" fmla="*/ 12 h 40"/>
                  <a:gd name="T28" fmla="*/ 5 w 40"/>
                  <a:gd name="T29" fmla="*/ 17 h 40"/>
                  <a:gd name="T30" fmla="*/ 1 w 40"/>
                  <a:gd name="T31" fmla="*/ 18 h 40"/>
                  <a:gd name="T32" fmla="*/ 0 w 40"/>
                  <a:gd name="T33" fmla="*/ 20 h 40"/>
                  <a:gd name="T34" fmla="*/ 2 w 40"/>
                  <a:gd name="T35" fmla="*/ 22 h 40"/>
                  <a:gd name="T36" fmla="*/ 5 w 40"/>
                  <a:gd name="T37" fmla="*/ 23 h 40"/>
                  <a:gd name="T38" fmla="*/ 7 w 40"/>
                  <a:gd name="T39" fmla="*/ 28 h 40"/>
                  <a:gd name="T40" fmla="*/ 5 w 40"/>
                  <a:gd name="T41" fmla="*/ 31 h 40"/>
                  <a:gd name="T42" fmla="*/ 6 w 40"/>
                  <a:gd name="T43" fmla="*/ 34 h 40"/>
                  <a:gd name="T44" fmla="*/ 9 w 40"/>
                  <a:gd name="T45" fmla="*/ 34 h 40"/>
                  <a:gd name="T46" fmla="*/ 11 w 40"/>
                  <a:gd name="T47" fmla="*/ 33 h 40"/>
                  <a:gd name="T48" fmla="*/ 16 w 40"/>
                  <a:gd name="T49" fmla="*/ 35 h 40"/>
                  <a:gd name="T50" fmla="*/ 18 w 40"/>
                  <a:gd name="T51" fmla="*/ 38 h 40"/>
                  <a:gd name="T52" fmla="*/ 19 w 40"/>
                  <a:gd name="T53" fmla="*/ 40 h 40"/>
                  <a:gd name="T54" fmla="*/ 22 w 40"/>
                  <a:gd name="T55" fmla="*/ 38 h 40"/>
                  <a:gd name="T56" fmla="*/ 23 w 40"/>
                  <a:gd name="T57" fmla="*/ 35 h 40"/>
                  <a:gd name="T58" fmla="*/ 31 w 40"/>
                  <a:gd name="T59" fmla="*/ 34 h 40"/>
                  <a:gd name="T60" fmla="*/ 34 w 40"/>
                  <a:gd name="T61" fmla="*/ 34 h 40"/>
                  <a:gd name="T62" fmla="*/ 34 w 40"/>
                  <a:gd name="T63" fmla="*/ 30 h 40"/>
                  <a:gd name="T64" fmla="*/ 36 w 40"/>
                  <a:gd name="T65" fmla="*/ 22 h 40"/>
                  <a:gd name="T66" fmla="*/ 40 w 40"/>
                  <a:gd name="T67" fmla="*/ 20 h 40"/>
                  <a:gd name="T68" fmla="*/ 36 w 40"/>
                  <a:gd name="T69" fmla="*/ 17 h 40"/>
                  <a:gd name="T70" fmla="*/ 20 w 40"/>
                  <a:gd name="T71" fmla="*/ 30 h 40"/>
                  <a:gd name="T72" fmla="*/ 11 w 40"/>
                  <a:gd name="T73" fmla="*/ 21 h 40"/>
                  <a:gd name="T74" fmla="*/ 20 w 40"/>
                  <a:gd name="T75" fmla="*/ 12 h 40"/>
                  <a:gd name="T76" fmla="*/ 29 w 40"/>
                  <a:gd name="T77" fmla="*/ 21 h 40"/>
                  <a:gd name="T78" fmla="*/ 20 w 40"/>
                  <a:gd name="T79" fmla="*/ 30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40" h="40">
                    <a:moveTo>
                      <a:pt x="36" y="17"/>
                    </a:moveTo>
                    <a:cubicBezTo>
                      <a:pt x="34" y="16"/>
                      <a:pt x="32" y="12"/>
                      <a:pt x="33" y="10"/>
                    </a:cubicBezTo>
                    <a:cubicBezTo>
                      <a:pt x="34" y="8"/>
                      <a:pt x="35" y="7"/>
                      <a:pt x="33" y="6"/>
                    </a:cubicBezTo>
                    <a:cubicBezTo>
                      <a:pt x="32" y="4"/>
                      <a:pt x="31" y="6"/>
                      <a:pt x="29" y="7"/>
                    </a:cubicBezTo>
                    <a:cubicBezTo>
                      <a:pt x="29" y="7"/>
                      <a:pt x="28" y="7"/>
                      <a:pt x="28" y="7"/>
                    </a:cubicBezTo>
                    <a:cubicBezTo>
                      <a:pt x="26" y="7"/>
                      <a:pt x="22" y="6"/>
                      <a:pt x="22" y="2"/>
                    </a:cubicBezTo>
                    <a:cubicBezTo>
                      <a:pt x="22" y="0"/>
                      <a:pt x="21" y="0"/>
                      <a:pt x="20" y="0"/>
                    </a:cubicBezTo>
                    <a:cubicBezTo>
                      <a:pt x="19" y="0"/>
                      <a:pt x="18" y="0"/>
                      <a:pt x="18" y="1"/>
                    </a:cubicBezTo>
                    <a:cubicBezTo>
                      <a:pt x="18" y="3"/>
                      <a:pt x="17" y="4"/>
                      <a:pt x="16" y="5"/>
                    </a:cubicBezTo>
                    <a:cubicBezTo>
                      <a:pt x="15" y="6"/>
                      <a:pt x="13" y="7"/>
                      <a:pt x="11" y="7"/>
                    </a:cubicBezTo>
                    <a:cubicBezTo>
                      <a:pt x="10" y="7"/>
                      <a:pt x="9" y="6"/>
                      <a:pt x="8" y="6"/>
                    </a:cubicBezTo>
                    <a:cubicBezTo>
                      <a:pt x="7" y="5"/>
                      <a:pt x="6" y="5"/>
                      <a:pt x="5" y="6"/>
                    </a:cubicBezTo>
                    <a:cubicBezTo>
                      <a:pt x="4" y="7"/>
                      <a:pt x="5" y="8"/>
                      <a:pt x="5" y="9"/>
                    </a:cubicBezTo>
                    <a:cubicBezTo>
                      <a:pt x="6" y="10"/>
                      <a:pt x="7" y="11"/>
                      <a:pt x="7" y="12"/>
                    </a:cubicBezTo>
                    <a:cubicBezTo>
                      <a:pt x="7" y="13"/>
                      <a:pt x="6" y="15"/>
                      <a:pt x="5" y="17"/>
                    </a:cubicBezTo>
                    <a:cubicBezTo>
                      <a:pt x="4" y="17"/>
                      <a:pt x="3" y="18"/>
                      <a:pt x="1" y="18"/>
                    </a:cubicBezTo>
                    <a:cubicBezTo>
                      <a:pt x="0" y="18"/>
                      <a:pt x="0" y="19"/>
                      <a:pt x="0" y="20"/>
                    </a:cubicBezTo>
                    <a:cubicBezTo>
                      <a:pt x="0" y="21"/>
                      <a:pt x="0" y="22"/>
                      <a:pt x="2" y="22"/>
                    </a:cubicBezTo>
                    <a:cubicBezTo>
                      <a:pt x="3" y="22"/>
                      <a:pt x="4" y="22"/>
                      <a:pt x="5" y="23"/>
                    </a:cubicBezTo>
                    <a:cubicBezTo>
                      <a:pt x="6" y="25"/>
                      <a:pt x="6" y="26"/>
                      <a:pt x="7" y="28"/>
                    </a:cubicBezTo>
                    <a:cubicBezTo>
                      <a:pt x="7" y="29"/>
                      <a:pt x="6" y="30"/>
                      <a:pt x="5" y="31"/>
                    </a:cubicBezTo>
                    <a:cubicBezTo>
                      <a:pt x="5" y="32"/>
                      <a:pt x="4" y="33"/>
                      <a:pt x="6" y="34"/>
                    </a:cubicBezTo>
                    <a:cubicBezTo>
                      <a:pt x="7" y="35"/>
                      <a:pt x="7" y="35"/>
                      <a:pt x="9" y="34"/>
                    </a:cubicBezTo>
                    <a:cubicBezTo>
                      <a:pt x="9" y="34"/>
                      <a:pt x="11" y="33"/>
                      <a:pt x="11" y="33"/>
                    </a:cubicBezTo>
                    <a:cubicBezTo>
                      <a:pt x="13" y="33"/>
                      <a:pt x="15" y="34"/>
                      <a:pt x="16" y="35"/>
                    </a:cubicBezTo>
                    <a:cubicBezTo>
                      <a:pt x="17" y="36"/>
                      <a:pt x="17" y="37"/>
                      <a:pt x="18" y="38"/>
                    </a:cubicBezTo>
                    <a:cubicBezTo>
                      <a:pt x="18" y="39"/>
                      <a:pt x="18" y="40"/>
                      <a:pt x="19" y="40"/>
                    </a:cubicBezTo>
                    <a:cubicBezTo>
                      <a:pt x="21" y="40"/>
                      <a:pt x="22" y="40"/>
                      <a:pt x="22" y="38"/>
                    </a:cubicBezTo>
                    <a:cubicBezTo>
                      <a:pt x="22" y="37"/>
                      <a:pt x="23" y="35"/>
                      <a:pt x="23" y="35"/>
                    </a:cubicBezTo>
                    <a:cubicBezTo>
                      <a:pt x="26" y="34"/>
                      <a:pt x="29" y="32"/>
                      <a:pt x="31" y="34"/>
                    </a:cubicBezTo>
                    <a:cubicBezTo>
                      <a:pt x="31" y="34"/>
                      <a:pt x="33" y="35"/>
                      <a:pt x="34" y="34"/>
                    </a:cubicBezTo>
                    <a:cubicBezTo>
                      <a:pt x="36" y="32"/>
                      <a:pt x="35" y="31"/>
                      <a:pt x="34" y="30"/>
                    </a:cubicBezTo>
                    <a:cubicBezTo>
                      <a:pt x="32" y="27"/>
                      <a:pt x="34" y="22"/>
                      <a:pt x="36" y="22"/>
                    </a:cubicBezTo>
                    <a:cubicBezTo>
                      <a:pt x="39" y="22"/>
                      <a:pt x="40" y="22"/>
                      <a:pt x="40" y="20"/>
                    </a:cubicBezTo>
                    <a:cubicBezTo>
                      <a:pt x="40" y="17"/>
                      <a:pt x="37" y="18"/>
                      <a:pt x="36" y="17"/>
                    </a:cubicBezTo>
                    <a:close/>
                    <a:moveTo>
                      <a:pt x="20" y="30"/>
                    </a:moveTo>
                    <a:cubicBezTo>
                      <a:pt x="15" y="30"/>
                      <a:pt x="11" y="26"/>
                      <a:pt x="11" y="21"/>
                    </a:cubicBezTo>
                    <a:cubicBezTo>
                      <a:pt x="11" y="16"/>
                      <a:pt x="15" y="12"/>
                      <a:pt x="20" y="12"/>
                    </a:cubicBezTo>
                    <a:cubicBezTo>
                      <a:pt x="25" y="12"/>
                      <a:pt x="29" y="16"/>
                      <a:pt x="29" y="21"/>
                    </a:cubicBezTo>
                    <a:cubicBezTo>
                      <a:pt x="29" y="26"/>
                      <a:pt x="25" y="30"/>
                      <a:pt x="20" y="30"/>
                    </a:cubicBezTo>
                    <a:close/>
                  </a:path>
                </a:pathLst>
              </a:custGeom>
              <a:noFill/>
              <a:ln w="4" cap="rnd">
                <a:solidFill>
                  <a:schemeClr val="accent5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41" name="Freeform 529"/>
              <p:cNvSpPr>
                <a:spLocks noEditPoints="1"/>
              </p:cNvSpPr>
              <p:nvPr/>
            </p:nvSpPr>
            <p:spPr bwMode="auto">
              <a:xfrm>
                <a:off x="2749551" y="6107113"/>
                <a:ext cx="127000" cy="127000"/>
              </a:xfrm>
              <a:custGeom>
                <a:avLst/>
                <a:gdLst>
                  <a:gd name="T0" fmla="*/ 37 w 40"/>
                  <a:gd name="T1" fmla="*/ 17 h 40"/>
                  <a:gd name="T2" fmla="*/ 33 w 40"/>
                  <a:gd name="T3" fmla="*/ 10 h 40"/>
                  <a:gd name="T4" fmla="*/ 34 w 40"/>
                  <a:gd name="T5" fmla="*/ 6 h 40"/>
                  <a:gd name="T6" fmla="*/ 30 w 40"/>
                  <a:gd name="T7" fmla="*/ 7 h 40"/>
                  <a:gd name="T8" fmla="*/ 29 w 40"/>
                  <a:gd name="T9" fmla="*/ 7 h 40"/>
                  <a:gd name="T10" fmla="*/ 22 w 40"/>
                  <a:gd name="T11" fmla="*/ 2 h 40"/>
                  <a:gd name="T12" fmla="*/ 21 w 40"/>
                  <a:gd name="T13" fmla="*/ 0 h 40"/>
                  <a:gd name="T14" fmla="*/ 18 w 40"/>
                  <a:gd name="T15" fmla="*/ 1 h 40"/>
                  <a:gd name="T16" fmla="*/ 17 w 40"/>
                  <a:gd name="T17" fmla="*/ 5 h 40"/>
                  <a:gd name="T18" fmla="*/ 12 w 40"/>
                  <a:gd name="T19" fmla="*/ 7 h 40"/>
                  <a:gd name="T20" fmla="*/ 9 w 40"/>
                  <a:gd name="T21" fmla="*/ 5 h 40"/>
                  <a:gd name="T22" fmla="*/ 6 w 40"/>
                  <a:gd name="T23" fmla="*/ 6 h 40"/>
                  <a:gd name="T24" fmla="*/ 6 w 40"/>
                  <a:gd name="T25" fmla="*/ 9 h 40"/>
                  <a:gd name="T26" fmla="*/ 7 w 40"/>
                  <a:gd name="T27" fmla="*/ 12 h 40"/>
                  <a:gd name="T28" fmla="*/ 5 w 40"/>
                  <a:gd name="T29" fmla="*/ 17 h 40"/>
                  <a:gd name="T30" fmla="*/ 2 w 40"/>
                  <a:gd name="T31" fmla="*/ 18 h 40"/>
                  <a:gd name="T32" fmla="*/ 0 w 40"/>
                  <a:gd name="T33" fmla="*/ 20 h 40"/>
                  <a:gd name="T34" fmla="*/ 2 w 40"/>
                  <a:gd name="T35" fmla="*/ 22 h 40"/>
                  <a:gd name="T36" fmla="*/ 5 w 40"/>
                  <a:gd name="T37" fmla="*/ 23 h 40"/>
                  <a:gd name="T38" fmla="*/ 7 w 40"/>
                  <a:gd name="T39" fmla="*/ 28 h 40"/>
                  <a:gd name="T40" fmla="*/ 6 w 40"/>
                  <a:gd name="T41" fmla="*/ 31 h 40"/>
                  <a:gd name="T42" fmla="*/ 6 w 40"/>
                  <a:gd name="T43" fmla="*/ 34 h 40"/>
                  <a:gd name="T44" fmla="*/ 9 w 40"/>
                  <a:gd name="T45" fmla="*/ 34 h 40"/>
                  <a:gd name="T46" fmla="*/ 12 w 40"/>
                  <a:gd name="T47" fmla="*/ 33 h 40"/>
                  <a:gd name="T48" fmla="*/ 17 w 40"/>
                  <a:gd name="T49" fmla="*/ 35 h 40"/>
                  <a:gd name="T50" fmla="*/ 18 w 40"/>
                  <a:gd name="T51" fmla="*/ 38 h 40"/>
                  <a:gd name="T52" fmla="*/ 20 w 40"/>
                  <a:gd name="T53" fmla="*/ 40 h 40"/>
                  <a:gd name="T54" fmla="*/ 22 w 40"/>
                  <a:gd name="T55" fmla="*/ 38 h 40"/>
                  <a:gd name="T56" fmla="*/ 24 w 40"/>
                  <a:gd name="T57" fmla="*/ 35 h 40"/>
                  <a:gd name="T58" fmla="*/ 32 w 40"/>
                  <a:gd name="T59" fmla="*/ 34 h 40"/>
                  <a:gd name="T60" fmla="*/ 35 w 40"/>
                  <a:gd name="T61" fmla="*/ 34 h 40"/>
                  <a:gd name="T62" fmla="*/ 35 w 40"/>
                  <a:gd name="T63" fmla="*/ 30 h 40"/>
                  <a:gd name="T64" fmla="*/ 37 w 40"/>
                  <a:gd name="T65" fmla="*/ 22 h 40"/>
                  <a:gd name="T66" fmla="*/ 40 w 40"/>
                  <a:gd name="T67" fmla="*/ 20 h 40"/>
                  <a:gd name="T68" fmla="*/ 37 w 40"/>
                  <a:gd name="T69" fmla="*/ 17 h 40"/>
                  <a:gd name="T70" fmla="*/ 21 w 40"/>
                  <a:gd name="T71" fmla="*/ 30 h 40"/>
                  <a:gd name="T72" fmla="*/ 12 w 40"/>
                  <a:gd name="T73" fmla="*/ 21 h 40"/>
                  <a:gd name="T74" fmla="*/ 21 w 40"/>
                  <a:gd name="T75" fmla="*/ 12 h 40"/>
                  <a:gd name="T76" fmla="*/ 30 w 40"/>
                  <a:gd name="T77" fmla="*/ 21 h 40"/>
                  <a:gd name="T78" fmla="*/ 21 w 40"/>
                  <a:gd name="T79" fmla="*/ 30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40" h="40">
                    <a:moveTo>
                      <a:pt x="37" y="17"/>
                    </a:moveTo>
                    <a:cubicBezTo>
                      <a:pt x="34" y="16"/>
                      <a:pt x="32" y="12"/>
                      <a:pt x="33" y="10"/>
                    </a:cubicBezTo>
                    <a:cubicBezTo>
                      <a:pt x="34" y="8"/>
                      <a:pt x="35" y="7"/>
                      <a:pt x="34" y="6"/>
                    </a:cubicBezTo>
                    <a:cubicBezTo>
                      <a:pt x="32" y="4"/>
                      <a:pt x="31" y="6"/>
                      <a:pt x="30" y="7"/>
                    </a:cubicBezTo>
                    <a:cubicBezTo>
                      <a:pt x="30" y="7"/>
                      <a:pt x="29" y="7"/>
                      <a:pt x="29" y="7"/>
                    </a:cubicBezTo>
                    <a:cubicBezTo>
                      <a:pt x="27" y="7"/>
                      <a:pt x="22" y="6"/>
                      <a:pt x="22" y="2"/>
                    </a:cubicBezTo>
                    <a:cubicBezTo>
                      <a:pt x="22" y="0"/>
                      <a:pt x="22" y="0"/>
                      <a:pt x="21" y="0"/>
                    </a:cubicBezTo>
                    <a:cubicBezTo>
                      <a:pt x="19" y="0"/>
                      <a:pt x="19" y="0"/>
                      <a:pt x="18" y="1"/>
                    </a:cubicBezTo>
                    <a:cubicBezTo>
                      <a:pt x="18" y="3"/>
                      <a:pt x="18" y="4"/>
                      <a:pt x="17" y="5"/>
                    </a:cubicBezTo>
                    <a:cubicBezTo>
                      <a:pt x="16" y="6"/>
                      <a:pt x="14" y="7"/>
                      <a:pt x="12" y="7"/>
                    </a:cubicBezTo>
                    <a:cubicBezTo>
                      <a:pt x="11" y="7"/>
                      <a:pt x="10" y="6"/>
                      <a:pt x="9" y="5"/>
                    </a:cubicBezTo>
                    <a:cubicBezTo>
                      <a:pt x="8" y="5"/>
                      <a:pt x="7" y="5"/>
                      <a:pt x="6" y="6"/>
                    </a:cubicBezTo>
                    <a:cubicBezTo>
                      <a:pt x="5" y="7"/>
                      <a:pt x="5" y="8"/>
                      <a:pt x="6" y="9"/>
                    </a:cubicBezTo>
                    <a:cubicBezTo>
                      <a:pt x="6" y="10"/>
                      <a:pt x="7" y="11"/>
                      <a:pt x="7" y="12"/>
                    </a:cubicBezTo>
                    <a:cubicBezTo>
                      <a:pt x="7" y="13"/>
                      <a:pt x="6" y="15"/>
                      <a:pt x="5" y="17"/>
                    </a:cubicBezTo>
                    <a:cubicBezTo>
                      <a:pt x="5" y="17"/>
                      <a:pt x="3" y="18"/>
                      <a:pt x="2" y="18"/>
                    </a:cubicBezTo>
                    <a:cubicBezTo>
                      <a:pt x="1" y="18"/>
                      <a:pt x="0" y="19"/>
                      <a:pt x="0" y="20"/>
                    </a:cubicBezTo>
                    <a:cubicBezTo>
                      <a:pt x="0" y="21"/>
                      <a:pt x="1" y="22"/>
                      <a:pt x="2" y="22"/>
                    </a:cubicBezTo>
                    <a:cubicBezTo>
                      <a:pt x="3" y="22"/>
                      <a:pt x="5" y="22"/>
                      <a:pt x="5" y="23"/>
                    </a:cubicBezTo>
                    <a:cubicBezTo>
                      <a:pt x="6" y="25"/>
                      <a:pt x="7" y="26"/>
                      <a:pt x="7" y="28"/>
                    </a:cubicBezTo>
                    <a:cubicBezTo>
                      <a:pt x="7" y="29"/>
                      <a:pt x="6" y="30"/>
                      <a:pt x="6" y="31"/>
                    </a:cubicBezTo>
                    <a:cubicBezTo>
                      <a:pt x="5" y="32"/>
                      <a:pt x="5" y="33"/>
                      <a:pt x="6" y="34"/>
                    </a:cubicBezTo>
                    <a:cubicBezTo>
                      <a:pt x="7" y="35"/>
                      <a:pt x="8" y="35"/>
                      <a:pt x="9" y="34"/>
                    </a:cubicBezTo>
                    <a:cubicBezTo>
                      <a:pt x="10" y="34"/>
                      <a:pt x="11" y="33"/>
                      <a:pt x="12" y="33"/>
                    </a:cubicBezTo>
                    <a:cubicBezTo>
                      <a:pt x="14" y="33"/>
                      <a:pt x="15" y="34"/>
                      <a:pt x="17" y="35"/>
                    </a:cubicBezTo>
                    <a:cubicBezTo>
                      <a:pt x="18" y="36"/>
                      <a:pt x="18" y="37"/>
                      <a:pt x="18" y="38"/>
                    </a:cubicBezTo>
                    <a:cubicBezTo>
                      <a:pt x="18" y="39"/>
                      <a:pt x="18" y="40"/>
                      <a:pt x="20" y="40"/>
                    </a:cubicBezTo>
                    <a:cubicBezTo>
                      <a:pt x="21" y="40"/>
                      <a:pt x="22" y="40"/>
                      <a:pt x="22" y="38"/>
                    </a:cubicBezTo>
                    <a:cubicBezTo>
                      <a:pt x="23" y="37"/>
                      <a:pt x="23" y="35"/>
                      <a:pt x="24" y="35"/>
                    </a:cubicBezTo>
                    <a:cubicBezTo>
                      <a:pt x="27" y="34"/>
                      <a:pt x="29" y="32"/>
                      <a:pt x="32" y="34"/>
                    </a:cubicBezTo>
                    <a:cubicBezTo>
                      <a:pt x="32" y="34"/>
                      <a:pt x="33" y="35"/>
                      <a:pt x="35" y="34"/>
                    </a:cubicBezTo>
                    <a:cubicBezTo>
                      <a:pt x="36" y="32"/>
                      <a:pt x="35" y="31"/>
                      <a:pt x="35" y="30"/>
                    </a:cubicBezTo>
                    <a:cubicBezTo>
                      <a:pt x="32" y="27"/>
                      <a:pt x="34" y="22"/>
                      <a:pt x="37" y="22"/>
                    </a:cubicBezTo>
                    <a:cubicBezTo>
                      <a:pt x="39" y="22"/>
                      <a:pt x="40" y="22"/>
                      <a:pt x="40" y="20"/>
                    </a:cubicBezTo>
                    <a:cubicBezTo>
                      <a:pt x="40" y="17"/>
                      <a:pt x="38" y="18"/>
                      <a:pt x="37" y="17"/>
                    </a:cubicBezTo>
                    <a:close/>
                    <a:moveTo>
                      <a:pt x="21" y="30"/>
                    </a:moveTo>
                    <a:cubicBezTo>
                      <a:pt x="16" y="30"/>
                      <a:pt x="12" y="26"/>
                      <a:pt x="12" y="21"/>
                    </a:cubicBezTo>
                    <a:cubicBezTo>
                      <a:pt x="12" y="16"/>
                      <a:pt x="16" y="12"/>
                      <a:pt x="21" y="12"/>
                    </a:cubicBezTo>
                    <a:cubicBezTo>
                      <a:pt x="26" y="12"/>
                      <a:pt x="30" y="16"/>
                      <a:pt x="30" y="21"/>
                    </a:cubicBezTo>
                    <a:cubicBezTo>
                      <a:pt x="30" y="26"/>
                      <a:pt x="26" y="30"/>
                      <a:pt x="21" y="30"/>
                    </a:cubicBezTo>
                    <a:close/>
                  </a:path>
                </a:pathLst>
              </a:custGeom>
              <a:noFill/>
              <a:ln w="4" cap="rnd">
                <a:solidFill>
                  <a:schemeClr val="accent5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42" name="Freeform 530"/>
              <p:cNvSpPr>
                <a:spLocks noEditPoints="1"/>
              </p:cNvSpPr>
              <p:nvPr/>
            </p:nvSpPr>
            <p:spPr bwMode="auto">
              <a:xfrm>
                <a:off x="2679701" y="5859463"/>
                <a:ext cx="225425" cy="228600"/>
              </a:xfrm>
              <a:custGeom>
                <a:avLst/>
                <a:gdLst>
                  <a:gd name="T0" fmla="*/ 66 w 71"/>
                  <a:gd name="T1" fmla="*/ 31 h 72"/>
                  <a:gd name="T2" fmla="*/ 59 w 71"/>
                  <a:gd name="T3" fmla="*/ 18 h 72"/>
                  <a:gd name="T4" fmla="*/ 60 w 71"/>
                  <a:gd name="T5" fmla="*/ 11 h 72"/>
                  <a:gd name="T6" fmla="*/ 53 w 71"/>
                  <a:gd name="T7" fmla="*/ 12 h 72"/>
                  <a:gd name="T8" fmla="*/ 51 w 71"/>
                  <a:gd name="T9" fmla="*/ 13 h 72"/>
                  <a:gd name="T10" fmla="*/ 39 w 71"/>
                  <a:gd name="T11" fmla="*/ 3 h 72"/>
                  <a:gd name="T12" fmla="*/ 36 w 71"/>
                  <a:gd name="T13" fmla="*/ 1 h 72"/>
                  <a:gd name="T14" fmla="*/ 32 w 71"/>
                  <a:gd name="T15" fmla="*/ 3 h 72"/>
                  <a:gd name="T16" fmla="*/ 30 w 71"/>
                  <a:gd name="T17" fmla="*/ 9 h 72"/>
                  <a:gd name="T18" fmla="*/ 21 w 71"/>
                  <a:gd name="T19" fmla="*/ 13 h 72"/>
                  <a:gd name="T20" fmla="*/ 15 w 71"/>
                  <a:gd name="T21" fmla="*/ 10 h 72"/>
                  <a:gd name="T22" fmla="*/ 10 w 71"/>
                  <a:gd name="T23" fmla="*/ 11 h 72"/>
                  <a:gd name="T24" fmla="*/ 10 w 71"/>
                  <a:gd name="T25" fmla="*/ 16 h 72"/>
                  <a:gd name="T26" fmla="*/ 13 w 71"/>
                  <a:gd name="T27" fmla="*/ 21 h 72"/>
                  <a:gd name="T28" fmla="*/ 9 w 71"/>
                  <a:gd name="T29" fmla="*/ 30 h 72"/>
                  <a:gd name="T30" fmla="*/ 3 w 71"/>
                  <a:gd name="T31" fmla="*/ 32 h 72"/>
                  <a:gd name="T32" fmla="*/ 0 w 71"/>
                  <a:gd name="T33" fmla="*/ 36 h 72"/>
                  <a:gd name="T34" fmla="*/ 3 w 71"/>
                  <a:gd name="T35" fmla="*/ 40 h 72"/>
                  <a:gd name="T36" fmla="*/ 9 w 71"/>
                  <a:gd name="T37" fmla="*/ 42 h 72"/>
                  <a:gd name="T38" fmla="*/ 13 w 71"/>
                  <a:gd name="T39" fmla="*/ 51 h 72"/>
                  <a:gd name="T40" fmla="*/ 10 w 71"/>
                  <a:gd name="T41" fmla="*/ 56 h 72"/>
                  <a:gd name="T42" fmla="*/ 10 w 71"/>
                  <a:gd name="T43" fmla="*/ 62 h 72"/>
                  <a:gd name="T44" fmla="*/ 16 w 71"/>
                  <a:gd name="T45" fmla="*/ 62 h 72"/>
                  <a:gd name="T46" fmla="*/ 21 w 71"/>
                  <a:gd name="T47" fmla="*/ 59 h 72"/>
                  <a:gd name="T48" fmla="*/ 30 w 71"/>
                  <a:gd name="T49" fmla="*/ 63 h 72"/>
                  <a:gd name="T50" fmla="*/ 32 w 71"/>
                  <a:gd name="T51" fmla="*/ 69 h 72"/>
                  <a:gd name="T52" fmla="*/ 35 w 71"/>
                  <a:gd name="T53" fmla="*/ 72 h 72"/>
                  <a:gd name="T54" fmla="*/ 40 w 71"/>
                  <a:gd name="T55" fmla="*/ 69 h 72"/>
                  <a:gd name="T56" fmla="*/ 42 w 71"/>
                  <a:gd name="T57" fmla="*/ 63 h 72"/>
                  <a:gd name="T58" fmla="*/ 56 w 71"/>
                  <a:gd name="T59" fmla="*/ 61 h 72"/>
                  <a:gd name="T60" fmla="*/ 62 w 71"/>
                  <a:gd name="T61" fmla="*/ 61 h 72"/>
                  <a:gd name="T62" fmla="*/ 61 w 71"/>
                  <a:gd name="T63" fmla="*/ 54 h 72"/>
                  <a:gd name="T64" fmla="*/ 65 w 71"/>
                  <a:gd name="T65" fmla="*/ 40 h 72"/>
                  <a:gd name="T66" fmla="*/ 71 w 71"/>
                  <a:gd name="T67" fmla="*/ 36 h 72"/>
                  <a:gd name="T68" fmla="*/ 66 w 71"/>
                  <a:gd name="T69" fmla="*/ 31 h 72"/>
                  <a:gd name="T70" fmla="*/ 36 w 71"/>
                  <a:gd name="T71" fmla="*/ 54 h 72"/>
                  <a:gd name="T72" fmla="*/ 20 w 71"/>
                  <a:gd name="T73" fmla="*/ 37 h 72"/>
                  <a:gd name="T74" fmla="*/ 37 w 71"/>
                  <a:gd name="T75" fmla="*/ 21 h 72"/>
                  <a:gd name="T76" fmla="*/ 53 w 71"/>
                  <a:gd name="T77" fmla="*/ 38 h 72"/>
                  <a:gd name="T78" fmla="*/ 36 w 71"/>
                  <a:gd name="T79" fmla="*/ 54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71" h="72">
                    <a:moveTo>
                      <a:pt x="66" y="31"/>
                    </a:moveTo>
                    <a:cubicBezTo>
                      <a:pt x="61" y="30"/>
                      <a:pt x="57" y="22"/>
                      <a:pt x="59" y="18"/>
                    </a:cubicBezTo>
                    <a:cubicBezTo>
                      <a:pt x="61" y="14"/>
                      <a:pt x="62" y="13"/>
                      <a:pt x="60" y="11"/>
                    </a:cubicBezTo>
                    <a:cubicBezTo>
                      <a:pt x="57" y="8"/>
                      <a:pt x="55" y="11"/>
                      <a:pt x="53" y="12"/>
                    </a:cubicBezTo>
                    <a:cubicBezTo>
                      <a:pt x="52" y="13"/>
                      <a:pt x="51" y="13"/>
                      <a:pt x="51" y="13"/>
                    </a:cubicBezTo>
                    <a:cubicBezTo>
                      <a:pt x="47" y="14"/>
                      <a:pt x="39" y="11"/>
                      <a:pt x="39" y="3"/>
                    </a:cubicBezTo>
                    <a:cubicBezTo>
                      <a:pt x="39" y="1"/>
                      <a:pt x="38" y="0"/>
                      <a:pt x="36" y="1"/>
                    </a:cubicBezTo>
                    <a:cubicBezTo>
                      <a:pt x="34" y="1"/>
                      <a:pt x="33" y="1"/>
                      <a:pt x="32" y="3"/>
                    </a:cubicBezTo>
                    <a:cubicBezTo>
                      <a:pt x="32" y="5"/>
                      <a:pt x="31" y="8"/>
                      <a:pt x="30" y="9"/>
                    </a:cubicBezTo>
                    <a:cubicBezTo>
                      <a:pt x="28" y="11"/>
                      <a:pt x="24" y="13"/>
                      <a:pt x="21" y="13"/>
                    </a:cubicBezTo>
                    <a:cubicBezTo>
                      <a:pt x="19" y="13"/>
                      <a:pt x="17" y="12"/>
                      <a:pt x="15" y="10"/>
                    </a:cubicBezTo>
                    <a:cubicBezTo>
                      <a:pt x="13" y="9"/>
                      <a:pt x="12" y="9"/>
                      <a:pt x="10" y="11"/>
                    </a:cubicBezTo>
                    <a:cubicBezTo>
                      <a:pt x="8" y="13"/>
                      <a:pt x="9" y="14"/>
                      <a:pt x="10" y="16"/>
                    </a:cubicBezTo>
                    <a:cubicBezTo>
                      <a:pt x="11" y="18"/>
                      <a:pt x="13" y="20"/>
                      <a:pt x="13" y="21"/>
                    </a:cubicBezTo>
                    <a:cubicBezTo>
                      <a:pt x="12" y="25"/>
                      <a:pt x="11" y="28"/>
                      <a:pt x="9" y="30"/>
                    </a:cubicBezTo>
                    <a:cubicBezTo>
                      <a:pt x="8" y="32"/>
                      <a:pt x="5" y="32"/>
                      <a:pt x="3" y="32"/>
                    </a:cubicBezTo>
                    <a:cubicBezTo>
                      <a:pt x="1" y="33"/>
                      <a:pt x="0" y="34"/>
                      <a:pt x="0" y="36"/>
                    </a:cubicBezTo>
                    <a:cubicBezTo>
                      <a:pt x="0" y="39"/>
                      <a:pt x="1" y="40"/>
                      <a:pt x="3" y="40"/>
                    </a:cubicBezTo>
                    <a:cubicBezTo>
                      <a:pt x="5" y="40"/>
                      <a:pt x="8" y="41"/>
                      <a:pt x="9" y="42"/>
                    </a:cubicBezTo>
                    <a:cubicBezTo>
                      <a:pt x="11" y="45"/>
                      <a:pt x="12" y="48"/>
                      <a:pt x="13" y="51"/>
                    </a:cubicBezTo>
                    <a:cubicBezTo>
                      <a:pt x="13" y="53"/>
                      <a:pt x="11" y="55"/>
                      <a:pt x="10" y="56"/>
                    </a:cubicBezTo>
                    <a:cubicBezTo>
                      <a:pt x="9" y="58"/>
                      <a:pt x="8" y="60"/>
                      <a:pt x="10" y="62"/>
                    </a:cubicBezTo>
                    <a:cubicBezTo>
                      <a:pt x="12" y="64"/>
                      <a:pt x="14" y="63"/>
                      <a:pt x="16" y="62"/>
                    </a:cubicBezTo>
                    <a:cubicBezTo>
                      <a:pt x="17" y="61"/>
                      <a:pt x="19" y="59"/>
                      <a:pt x="21" y="59"/>
                    </a:cubicBezTo>
                    <a:cubicBezTo>
                      <a:pt x="24" y="60"/>
                      <a:pt x="27" y="61"/>
                      <a:pt x="30" y="63"/>
                    </a:cubicBezTo>
                    <a:cubicBezTo>
                      <a:pt x="31" y="64"/>
                      <a:pt x="31" y="67"/>
                      <a:pt x="32" y="69"/>
                    </a:cubicBezTo>
                    <a:cubicBezTo>
                      <a:pt x="32" y="71"/>
                      <a:pt x="32" y="72"/>
                      <a:pt x="35" y="72"/>
                    </a:cubicBezTo>
                    <a:cubicBezTo>
                      <a:pt x="38" y="72"/>
                      <a:pt x="39" y="72"/>
                      <a:pt x="40" y="69"/>
                    </a:cubicBezTo>
                    <a:cubicBezTo>
                      <a:pt x="40" y="67"/>
                      <a:pt x="41" y="64"/>
                      <a:pt x="42" y="63"/>
                    </a:cubicBezTo>
                    <a:cubicBezTo>
                      <a:pt x="47" y="61"/>
                      <a:pt x="51" y="57"/>
                      <a:pt x="56" y="61"/>
                    </a:cubicBezTo>
                    <a:cubicBezTo>
                      <a:pt x="56" y="62"/>
                      <a:pt x="59" y="64"/>
                      <a:pt x="62" y="61"/>
                    </a:cubicBezTo>
                    <a:cubicBezTo>
                      <a:pt x="64" y="58"/>
                      <a:pt x="63" y="56"/>
                      <a:pt x="61" y="54"/>
                    </a:cubicBezTo>
                    <a:cubicBezTo>
                      <a:pt x="57" y="49"/>
                      <a:pt x="61" y="40"/>
                      <a:pt x="65" y="40"/>
                    </a:cubicBezTo>
                    <a:cubicBezTo>
                      <a:pt x="70" y="40"/>
                      <a:pt x="71" y="39"/>
                      <a:pt x="71" y="36"/>
                    </a:cubicBezTo>
                    <a:cubicBezTo>
                      <a:pt x="71" y="32"/>
                      <a:pt x="67" y="32"/>
                      <a:pt x="66" y="31"/>
                    </a:cubicBezTo>
                    <a:close/>
                    <a:moveTo>
                      <a:pt x="36" y="54"/>
                    </a:moveTo>
                    <a:cubicBezTo>
                      <a:pt x="27" y="54"/>
                      <a:pt x="20" y="46"/>
                      <a:pt x="20" y="37"/>
                    </a:cubicBezTo>
                    <a:cubicBezTo>
                      <a:pt x="20" y="29"/>
                      <a:pt x="28" y="21"/>
                      <a:pt x="37" y="21"/>
                    </a:cubicBezTo>
                    <a:cubicBezTo>
                      <a:pt x="45" y="21"/>
                      <a:pt x="53" y="29"/>
                      <a:pt x="53" y="38"/>
                    </a:cubicBezTo>
                    <a:cubicBezTo>
                      <a:pt x="53" y="47"/>
                      <a:pt x="45" y="54"/>
                      <a:pt x="36" y="54"/>
                    </a:cubicBezTo>
                    <a:close/>
                  </a:path>
                </a:pathLst>
              </a:custGeom>
              <a:noFill/>
              <a:ln w="4" cap="rnd">
                <a:solidFill>
                  <a:schemeClr val="accent5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latin typeface="Arial" pitchFamily="34" charset="0"/>
                  <a:cs typeface="Arial" pitchFamily="34" charset="0"/>
                </a:endParaRPr>
              </a:p>
            </p:txBody>
          </p:sp>
        </p:grpSp>
      </p:grpSp>
      <p:sp>
        <p:nvSpPr>
          <p:cNvPr id="171" name="Oval 170"/>
          <p:cNvSpPr/>
          <p:nvPr/>
        </p:nvSpPr>
        <p:spPr>
          <a:xfrm>
            <a:off x="1431926" y="5623963"/>
            <a:ext cx="318284" cy="294401"/>
          </a:xfrm>
          <a:prstGeom prst="ellipse">
            <a:avLst/>
          </a:prstGeom>
          <a:noFill/>
          <a:ln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/>
          <a:lstStyle/>
          <a:p>
            <a:pPr algn="ctr"/>
            <a:r>
              <a:rPr lang="en-US" sz="1100" b="1" dirty="0">
                <a:solidFill>
                  <a:schemeClr val="bg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4</a:t>
            </a:r>
          </a:p>
        </p:txBody>
      </p:sp>
      <p:sp>
        <p:nvSpPr>
          <p:cNvPr id="172" name="Rounded Rectangle 171"/>
          <p:cNvSpPr/>
          <p:nvPr/>
        </p:nvSpPr>
        <p:spPr>
          <a:xfrm>
            <a:off x="5879933" y="2171314"/>
            <a:ext cx="2231634" cy="264824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100" b="1">
                <a:solidFill>
                  <a:schemeClr val="bg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Consider Migrate to Cloud</a:t>
            </a:r>
            <a:endParaRPr lang="en-US" sz="1100" b="1" dirty="0">
              <a:solidFill>
                <a:schemeClr val="bg2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73" name="Isosceles Triangle 172"/>
          <p:cNvSpPr/>
          <p:nvPr/>
        </p:nvSpPr>
        <p:spPr bwMode="auto">
          <a:xfrm flipV="1">
            <a:off x="6142890" y="2486606"/>
            <a:ext cx="3572660" cy="301472"/>
          </a:xfrm>
          <a:prstGeom prst="triangle">
            <a:avLst/>
          </a:prstGeom>
          <a:solidFill>
            <a:schemeClr val="bg1">
              <a:lumMod val="85000"/>
            </a:schemeClr>
          </a:solidFill>
          <a:ln w="285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100" b="1" dirty="0">
              <a:solidFill>
                <a:schemeClr val="bg2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74" name="Isosceles Triangle 173"/>
          <p:cNvSpPr/>
          <p:nvPr/>
        </p:nvSpPr>
        <p:spPr bwMode="auto">
          <a:xfrm flipV="1">
            <a:off x="6142890" y="3014472"/>
            <a:ext cx="3572660" cy="301472"/>
          </a:xfrm>
          <a:prstGeom prst="triangle">
            <a:avLst/>
          </a:prstGeom>
          <a:solidFill>
            <a:schemeClr val="accent1">
              <a:lumMod val="60000"/>
              <a:lumOff val="40000"/>
            </a:schemeClr>
          </a:solidFill>
          <a:ln w="285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100" b="1" dirty="0">
              <a:solidFill>
                <a:schemeClr val="bg2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75" name="Isosceles Triangle 174"/>
          <p:cNvSpPr/>
          <p:nvPr/>
        </p:nvSpPr>
        <p:spPr bwMode="auto">
          <a:xfrm flipV="1">
            <a:off x="6142890" y="3646379"/>
            <a:ext cx="3572660" cy="358995"/>
          </a:xfrm>
          <a:prstGeom prst="triangle">
            <a:avLst/>
          </a:prstGeom>
          <a:solidFill>
            <a:schemeClr val="bg1">
              <a:lumMod val="85000"/>
            </a:schemeClr>
          </a:solidFill>
          <a:ln w="285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100" b="1" dirty="0">
              <a:solidFill>
                <a:schemeClr val="bg2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76" name="Rounded Rectangle 175"/>
          <p:cNvSpPr/>
          <p:nvPr/>
        </p:nvSpPr>
        <p:spPr>
          <a:xfrm>
            <a:off x="8178600" y="2171314"/>
            <a:ext cx="728429" cy="264824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100" b="1">
                <a:solidFill>
                  <a:schemeClr val="bg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Improve</a:t>
            </a:r>
            <a:endParaRPr lang="en-US" sz="1100" b="1" dirty="0">
              <a:solidFill>
                <a:schemeClr val="bg2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77" name="Rectangle 176"/>
          <p:cNvSpPr/>
          <p:nvPr/>
        </p:nvSpPr>
        <p:spPr>
          <a:xfrm>
            <a:off x="7071717" y="3013896"/>
            <a:ext cx="1715006" cy="16927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100" b="1">
                <a:solidFill>
                  <a:schemeClr val="bg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Attractive Segments</a:t>
            </a:r>
            <a:endParaRPr lang="en-US" sz="1100" b="1" dirty="0">
              <a:solidFill>
                <a:schemeClr val="bg2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78" name="Rectangle 177"/>
          <p:cNvSpPr/>
          <p:nvPr/>
        </p:nvSpPr>
        <p:spPr>
          <a:xfrm>
            <a:off x="7294500" y="3668249"/>
            <a:ext cx="1269445" cy="16927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100" b="1">
                <a:solidFill>
                  <a:schemeClr val="bg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Med-Hi Feasible</a:t>
            </a:r>
            <a:endParaRPr lang="en-US" sz="1100" b="1" dirty="0">
              <a:solidFill>
                <a:schemeClr val="bg2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79" name="Rounded Rectangle 178"/>
          <p:cNvSpPr/>
          <p:nvPr/>
        </p:nvSpPr>
        <p:spPr>
          <a:xfrm>
            <a:off x="2967356" y="4341598"/>
            <a:ext cx="950571" cy="359426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100" b="1">
                <a:solidFill>
                  <a:schemeClr val="bg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Retire</a:t>
            </a:r>
            <a:endParaRPr lang="en-US" sz="1100" b="1" dirty="0">
              <a:solidFill>
                <a:schemeClr val="bg2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80" name="Rounded Rectangle 179"/>
          <p:cNvSpPr/>
          <p:nvPr/>
        </p:nvSpPr>
        <p:spPr>
          <a:xfrm>
            <a:off x="3956014" y="4341598"/>
            <a:ext cx="950571" cy="359426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100" b="1">
                <a:solidFill>
                  <a:schemeClr val="bg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Retain</a:t>
            </a:r>
            <a:endParaRPr lang="en-US" sz="1100" b="1" dirty="0">
              <a:solidFill>
                <a:schemeClr val="bg2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81" name="Rounded Rectangle 180"/>
          <p:cNvSpPr/>
          <p:nvPr/>
        </p:nvSpPr>
        <p:spPr>
          <a:xfrm>
            <a:off x="4944670" y="4341598"/>
            <a:ext cx="1191480" cy="359426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100" b="1">
                <a:solidFill>
                  <a:schemeClr val="bg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Consolidate</a:t>
            </a:r>
            <a:endParaRPr lang="en-US" sz="1100" b="1" dirty="0">
              <a:solidFill>
                <a:schemeClr val="bg2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82" name="Rounded Rectangle 181"/>
          <p:cNvSpPr/>
          <p:nvPr/>
        </p:nvSpPr>
        <p:spPr>
          <a:xfrm>
            <a:off x="6174238" y="4341598"/>
            <a:ext cx="950571" cy="359426"/>
          </a:xfrm>
          <a:prstGeom prst="roundRect">
            <a:avLst/>
          </a:prstGeom>
          <a:solidFill>
            <a:schemeClr val="bg1"/>
          </a:solidFill>
          <a:ln w="6350"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100" b="1">
                <a:solidFill>
                  <a:schemeClr val="accent5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Re-host</a:t>
            </a:r>
            <a:endParaRPr lang="en-US" sz="1100" b="1" dirty="0">
              <a:solidFill>
                <a:schemeClr val="accent5">
                  <a:lumMod val="7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83" name="Rounded Rectangle 182"/>
          <p:cNvSpPr/>
          <p:nvPr/>
        </p:nvSpPr>
        <p:spPr>
          <a:xfrm>
            <a:off x="7162896" y="4341598"/>
            <a:ext cx="950571" cy="359426"/>
          </a:xfrm>
          <a:prstGeom prst="roundRect">
            <a:avLst/>
          </a:prstGeom>
          <a:solidFill>
            <a:schemeClr val="bg1"/>
          </a:solidFill>
          <a:ln w="6350"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100" b="1">
                <a:solidFill>
                  <a:schemeClr val="accent5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Re-mediate</a:t>
            </a:r>
          </a:p>
          <a:p>
            <a:pPr algn="ctr"/>
            <a:r>
              <a:rPr lang="en-US" sz="1100" b="1">
                <a:solidFill>
                  <a:schemeClr val="accent5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Re-factor</a:t>
            </a:r>
            <a:endParaRPr lang="en-US" sz="1100" b="1" dirty="0">
              <a:solidFill>
                <a:schemeClr val="accent5">
                  <a:lumMod val="7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84" name="Rounded Rectangle 183"/>
          <p:cNvSpPr/>
          <p:nvPr/>
        </p:nvSpPr>
        <p:spPr>
          <a:xfrm>
            <a:off x="8151553" y="4341598"/>
            <a:ext cx="950571" cy="359426"/>
          </a:xfrm>
          <a:prstGeom prst="roundRect">
            <a:avLst/>
          </a:prstGeom>
          <a:solidFill>
            <a:schemeClr val="bg1"/>
          </a:solidFill>
          <a:ln w="6350"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100" b="1">
                <a:solidFill>
                  <a:schemeClr val="accent5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Re-write</a:t>
            </a:r>
            <a:endParaRPr lang="en-US" sz="1100" b="1" dirty="0">
              <a:solidFill>
                <a:schemeClr val="accent5">
                  <a:lumMod val="7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85" name="Rounded Rectangle 184"/>
          <p:cNvSpPr/>
          <p:nvPr/>
        </p:nvSpPr>
        <p:spPr>
          <a:xfrm>
            <a:off x="9140213" y="4341598"/>
            <a:ext cx="950571" cy="359426"/>
          </a:xfrm>
          <a:prstGeom prst="roundRect">
            <a:avLst/>
          </a:prstGeom>
          <a:solidFill>
            <a:schemeClr val="bg1"/>
          </a:solidFill>
          <a:ln w="6350"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100" b="1">
                <a:solidFill>
                  <a:schemeClr val="accent5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Replace</a:t>
            </a:r>
            <a:endParaRPr lang="en-US" sz="1100" b="1" dirty="0">
              <a:solidFill>
                <a:schemeClr val="accent5">
                  <a:lumMod val="7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86" name="Rectangle 185"/>
          <p:cNvSpPr/>
          <p:nvPr/>
        </p:nvSpPr>
        <p:spPr bwMode="auto">
          <a:xfrm>
            <a:off x="4253237" y="1998719"/>
            <a:ext cx="356127" cy="340623"/>
          </a:xfrm>
          <a:prstGeom prst="rect">
            <a:avLst/>
          </a:prstGeom>
          <a:noFill/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600" b="1" dirty="0">
              <a:solidFill>
                <a:schemeClr val="bg2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187" name="Elbow Connector 186"/>
          <p:cNvCxnSpPr>
            <a:stCxn id="186" idx="2"/>
            <a:endCxn id="179" idx="0"/>
          </p:cNvCxnSpPr>
          <p:nvPr/>
        </p:nvCxnSpPr>
        <p:spPr bwMode="auto">
          <a:xfrm rot="5400000">
            <a:off x="2935841" y="2846141"/>
            <a:ext cx="2002258" cy="988659"/>
          </a:xfrm>
          <a:prstGeom prst="bentConnector3">
            <a:avLst>
              <a:gd name="adj1" fmla="val 77401"/>
            </a:avLst>
          </a:prstGeom>
          <a:solidFill>
            <a:schemeClr val="tx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188" name="Elbow Connector 187"/>
          <p:cNvCxnSpPr>
            <a:stCxn id="186" idx="2"/>
            <a:endCxn id="181" idx="0"/>
          </p:cNvCxnSpPr>
          <p:nvPr/>
        </p:nvCxnSpPr>
        <p:spPr bwMode="auto">
          <a:xfrm rot="16200000" flipH="1">
            <a:off x="3984725" y="2785915"/>
            <a:ext cx="2002258" cy="1109111"/>
          </a:xfrm>
          <a:prstGeom prst="bentConnector3">
            <a:avLst>
              <a:gd name="adj1" fmla="val 77401"/>
            </a:avLst>
          </a:prstGeom>
          <a:solidFill>
            <a:schemeClr val="tx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189" name="Rectangle 188"/>
          <p:cNvSpPr/>
          <p:nvPr/>
        </p:nvSpPr>
        <p:spPr bwMode="auto">
          <a:xfrm>
            <a:off x="9437436" y="1998719"/>
            <a:ext cx="356127" cy="340623"/>
          </a:xfrm>
          <a:prstGeom prst="rect">
            <a:avLst/>
          </a:prstGeom>
          <a:noFill/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600" b="1" dirty="0">
              <a:solidFill>
                <a:schemeClr val="bg2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190" name="Elbow Connector 108"/>
          <p:cNvCxnSpPr>
            <a:stCxn id="189" idx="2"/>
            <a:endCxn id="185" idx="0"/>
          </p:cNvCxnSpPr>
          <p:nvPr/>
        </p:nvCxnSpPr>
        <p:spPr bwMode="auto">
          <a:xfrm flipH="1">
            <a:off x="9615499" y="2339340"/>
            <a:ext cx="1" cy="2002258"/>
          </a:xfrm>
          <a:prstGeom prst="straightConnector1">
            <a:avLst/>
          </a:prstGeom>
          <a:solidFill>
            <a:schemeClr val="tx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191" name="Rectangle 190"/>
          <p:cNvSpPr/>
          <p:nvPr/>
        </p:nvSpPr>
        <p:spPr bwMode="auto">
          <a:xfrm>
            <a:off x="8840732" y="2678614"/>
            <a:ext cx="356127" cy="296933"/>
          </a:xfrm>
          <a:prstGeom prst="rect">
            <a:avLst/>
          </a:prstGeom>
          <a:noFill/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600" b="1" dirty="0">
              <a:solidFill>
                <a:schemeClr val="bg2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192" name="Elbow Connector 108"/>
          <p:cNvCxnSpPr>
            <a:stCxn id="191" idx="2"/>
            <a:endCxn id="184" idx="0"/>
          </p:cNvCxnSpPr>
          <p:nvPr/>
        </p:nvCxnSpPr>
        <p:spPr bwMode="auto">
          <a:xfrm rot="5400000">
            <a:off x="8139792" y="3462594"/>
            <a:ext cx="1366053" cy="391957"/>
          </a:xfrm>
          <a:prstGeom prst="bentConnector3">
            <a:avLst>
              <a:gd name="adj1" fmla="val 31034"/>
            </a:avLst>
          </a:prstGeom>
          <a:solidFill>
            <a:schemeClr val="tx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193" name="Can 192"/>
          <p:cNvSpPr/>
          <p:nvPr/>
        </p:nvSpPr>
        <p:spPr bwMode="auto">
          <a:xfrm>
            <a:off x="10090783" y="2020843"/>
            <a:ext cx="274282" cy="300945"/>
          </a:xfrm>
          <a:prstGeom prst="can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bg2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600" b="1" dirty="0">
              <a:solidFill>
                <a:schemeClr val="bg2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94" name="Can 193"/>
          <p:cNvSpPr/>
          <p:nvPr/>
        </p:nvSpPr>
        <p:spPr bwMode="auto">
          <a:xfrm>
            <a:off x="10090783" y="3453495"/>
            <a:ext cx="274282" cy="300945"/>
          </a:xfrm>
          <a:prstGeom prst="can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bg2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600" b="1" dirty="0">
              <a:solidFill>
                <a:schemeClr val="bg2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95" name="Can 194"/>
          <p:cNvSpPr/>
          <p:nvPr/>
        </p:nvSpPr>
        <p:spPr bwMode="auto">
          <a:xfrm>
            <a:off x="10090783" y="4005374"/>
            <a:ext cx="274282" cy="300945"/>
          </a:xfrm>
          <a:prstGeom prst="can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bg2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600" b="1" dirty="0">
              <a:solidFill>
                <a:schemeClr val="bg2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96" name="Can 195"/>
          <p:cNvSpPr/>
          <p:nvPr/>
        </p:nvSpPr>
        <p:spPr bwMode="auto">
          <a:xfrm>
            <a:off x="8246071" y="6026645"/>
            <a:ext cx="178063" cy="195373"/>
          </a:xfrm>
          <a:prstGeom prst="can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bg2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600" b="1" dirty="0">
              <a:solidFill>
                <a:schemeClr val="bg2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97" name="TextBox 196"/>
          <p:cNvSpPr txBox="1"/>
          <p:nvPr/>
        </p:nvSpPr>
        <p:spPr>
          <a:xfrm>
            <a:off x="8476516" y="6047385"/>
            <a:ext cx="227496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Potential data collection points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406400" y="365125"/>
            <a:ext cx="102552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CA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9196859" y="6503831"/>
            <a:ext cx="284488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/>
              <a:t>Reference: Capgemini CCA</a:t>
            </a:r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115472051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811520" y="1691132"/>
            <a:ext cx="5399087" cy="3685604"/>
          </a:xfrm>
          <a:prstGeom prst="rect">
            <a:avLst/>
          </a:prstGeom>
        </p:spPr>
      </p:pic>
      <p:sp>
        <p:nvSpPr>
          <p:cNvPr id="19" name="Rectangle 18"/>
          <p:cNvSpPr/>
          <p:nvPr/>
        </p:nvSpPr>
        <p:spPr>
          <a:xfrm>
            <a:off x="6023156" y="2186353"/>
            <a:ext cx="1439411" cy="3017520"/>
          </a:xfrm>
          <a:prstGeom prst="rect">
            <a:avLst/>
          </a:prstGeom>
          <a:solidFill>
            <a:schemeClr val="bg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/>
              <a:t>Current State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85919" y="1792542"/>
            <a:ext cx="5425601" cy="3750627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1590754" y="764694"/>
            <a:ext cx="17068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Current-State</a:t>
            </a:r>
            <a:endParaRPr lang="en-US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7" name="Rectangle 600"/>
          <p:cNvSpPr/>
          <p:nvPr/>
        </p:nvSpPr>
        <p:spPr>
          <a:xfrm>
            <a:off x="8322247" y="6311456"/>
            <a:ext cx="416973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/>
              <a:t>Reference: Harvard business School</a:t>
            </a:r>
            <a:endParaRPr lang="en-US" b="1" dirty="0"/>
          </a:p>
        </p:txBody>
      </p:sp>
      <p:sp>
        <p:nvSpPr>
          <p:cNvPr id="8" name="Rectangle 700"/>
          <p:cNvSpPr/>
          <p:nvPr/>
        </p:nvSpPr>
        <p:spPr>
          <a:xfrm>
            <a:off x="2696568" y="2694801"/>
            <a:ext cx="1824750" cy="56692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/>
              <a:t>ASystems Workload1 services()</a:t>
            </a:r>
          </a:p>
          <a:p>
            <a:pPr algn="ctr"/>
            <a:endParaRPr lang="en-US" sz="1400" dirty="0"/>
          </a:p>
        </p:txBody>
      </p:sp>
      <p:sp>
        <p:nvSpPr>
          <p:cNvPr id="9" name="Rectangle 8"/>
          <p:cNvSpPr/>
          <p:nvPr/>
        </p:nvSpPr>
        <p:spPr>
          <a:xfrm>
            <a:off x="2696568" y="3494193"/>
            <a:ext cx="1824750" cy="63368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/>
              <a:t>ASystems Workload2 services()</a:t>
            </a:r>
          </a:p>
          <a:p>
            <a:pPr algn="ctr"/>
            <a:endParaRPr lang="en-US" sz="1400" dirty="0"/>
          </a:p>
        </p:txBody>
      </p:sp>
      <p:sp>
        <p:nvSpPr>
          <p:cNvPr id="10" name="Rectangle 9"/>
          <p:cNvSpPr/>
          <p:nvPr/>
        </p:nvSpPr>
        <p:spPr>
          <a:xfrm>
            <a:off x="2696568" y="4343039"/>
            <a:ext cx="1824750" cy="60586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 err="1"/>
              <a:t>ASystems</a:t>
            </a:r>
            <a:r>
              <a:rPr lang="en-US" sz="1100" dirty="0"/>
              <a:t> Workload3 services()</a:t>
            </a:r>
          </a:p>
          <a:p>
            <a:pPr algn="ctr"/>
            <a:endParaRPr lang="en-US" sz="1400" dirty="0"/>
          </a:p>
        </p:txBody>
      </p:sp>
      <p:sp>
        <p:nvSpPr>
          <p:cNvPr id="11" name="Rectangle 10"/>
          <p:cNvSpPr/>
          <p:nvPr/>
        </p:nvSpPr>
        <p:spPr>
          <a:xfrm>
            <a:off x="4695230" y="2694801"/>
            <a:ext cx="767964" cy="221516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/>
              <a:t>App Services</a:t>
            </a:r>
          </a:p>
          <a:p>
            <a:pPr algn="ctr"/>
            <a:r>
              <a:rPr lang="en-US" sz="1200"/>
              <a:t>practices</a:t>
            </a:r>
            <a:endParaRPr lang="en-US" sz="1200" dirty="0"/>
          </a:p>
        </p:txBody>
      </p:sp>
      <p:sp>
        <p:nvSpPr>
          <p:cNvPr id="15" name="Rectangle 14"/>
          <p:cNvSpPr/>
          <p:nvPr/>
        </p:nvSpPr>
        <p:spPr>
          <a:xfrm>
            <a:off x="8078512" y="3601243"/>
            <a:ext cx="2838619" cy="734095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IWorkload1 Services()</a:t>
            </a:r>
          </a:p>
          <a:p>
            <a:pPr algn="ctr"/>
            <a:endParaRPr lang="en-US" dirty="0"/>
          </a:p>
        </p:txBody>
      </p:sp>
      <p:sp>
        <p:nvSpPr>
          <p:cNvPr id="16" name="Rectangle 15"/>
          <p:cNvSpPr/>
          <p:nvPr/>
        </p:nvSpPr>
        <p:spPr>
          <a:xfrm>
            <a:off x="6087504" y="3872718"/>
            <a:ext cx="1318768" cy="1275009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/>
              <a:t>Infrastructure </a:t>
            </a:r>
          </a:p>
          <a:p>
            <a:pPr algn="ctr"/>
            <a:r>
              <a:rPr lang="en-US" sz="1400"/>
              <a:t>Services</a:t>
            </a:r>
            <a:endParaRPr lang="en-US" sz="1400" dirty="0"/>
          </a:p>
        </p:txBody>
      </p:sp>
      <p:sp>
        <p:nvSpPr>
          <p:cNvPr id="17" name="Rectangle 16"/>
          <p:cNvSpPr/>
          <p:nvPr/>
        </p:nvSpPr>
        <p:spPr>
          <a:xfrm>
            <a:off x="8078512" y="4469778"/>
            <a:ext cx="2838619" cy="734095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IWorkload2 Services() </a:t>
            </a:r>
          </a:p>
          <a:p>
            <a:pPr algn="ctr"/>
            <a:r>
              <a:rPr lang="en-US"/>
              <a:t>   </a:t>
            </a:r>
            <a:endParaRPr lang="en-US" dirty="0"/>
          </a:p>
        </p:txBody>
      </p:sp>
      <p:sp>
        <p:nvSpPr>
          <p:cNvPr id="18" name="Rectangle 17"/>
          <p:cNvSpPr/>
          <p:nvPr/>
        </p:nvSpPr>
        <p:spPr>
          <a:xfrm>
            <a:off x="6074982" y="2521938"/>
            <a:ext cx="1318768" cy="1275009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Application</a:t>
            </a:r>
          </a:p>
          <a:p>
            <a:pPr algn="ctr"/>
            <a:r>
              <a:rPr lang="en-US"/>
              <a:t>Services</a:t>
            </a:r>
            <a:endParaRPr lang="en-US" dirty="0"/>
          </a:p>
        </p:txBody>
      </p:sp>
      <p:sp>
        <p:nvSpPr>
          <p:cNvPr id="20" name="Rectangle 19"/>
          <p:cNvSpPr/>
          <p:nvPr/>
        </p:nvSpPr>
        <p:spPr>
          <a:xfrm>
            <a:off x="589681" y="2284572"/>
            <a:ext cx="1439411" cy="3017520"/>
          </a:xfrm>
          <a:prstGeom prst="rect">
            <a:avLst/>
          </a:prstGeom>
          <a:solidFill>
            <a:schemeClr val="bg2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/>
              <a:t>Current State</a:t>
            </a:r>
            <a:endParaRPr lang="en-US" dirty="0"/>
          </a:p>
        </p:txBody>
      </p:sp>
      <p:sp>
        <p:nvSpPr>
          <p:cNvPr id="21" name="Rectangle 20"/>
          <p:cNvSpPr/>
          <p:nvPr/>
        </p:nvSpPr>
        <p:spPr>
          <a:xfrm>
            <a:off x="654029" y="3970937"/>
            <a:ext cx="1318768" cy="1275009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/>
              <a:t>Infrastructure </a:t>
            </a:r>
          </a:p>
          <a:p>
            <a:pPr algn="ctr"/>
            <a:r>
              <a:rPr lang="en-US" sz="1400"/>
              <a:t>Services</a:t>
            </a:r>
            <a:endParaRPr lang="en-US" sz="1400" dirty="0"/>
          </a:p>
        </p:txBody>
      </p:sp>
      <p:sp>
        <p:nvSpPr>
          <p:cNvPr id="22" name="Rectangle 21"/>
          <p:cNvSpPr/>
          <p:nvPr/>
        </p:nvSpPr>
        <p:spPr>
          <a:xfrm>
            <a:off x="660168" y="2620157"/>
            <a:ext cx="1318768" cy="1275009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Application</a:t>
            </a:r>
          </a:p>
          <a:p>
            <a:pPr algn="ctr"/>
            <a:r>
              <a:rPr lang="en-US"/>
              <a:t>Services</a:t>
            </a:r>
            <a:endParaRPr lang="en-US" dirty="0"/>
          </a:p>
        </p:txBody>
      </p:sp>
      <p:sp>
        <p:nvSpPr>
          <p:cNvPr id="23" name="Rectangle 22"/>
          <p:cNvSpPr/>
          <p:nvPr/>
        </p:nvSpPr>
        <p:spPr>
          <a:xfrm>
            <a:off x="589681" y="1531979"/>
            <a:ext cx="2437595" cy="49522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ectangle 23"/>
          <p:cNvSpPr/>
          <p:nvPr/>
        </p:nvSpPr>
        <p:spPr>
          <a:xfrm>
            <a:off x="6023157" y="1443521"/>
            <a:ext cx="2879806" cy="49522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4"/>
          <p:cNvSpPr/>
          <p:nvPr/>
        </p:nvSpPr>
        <p:spPr>
          <a:xfrm>
            <a:off x="8340908" y="4018472"/>
            <a:ext cx="580716" cy="23961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S1</a:t>
            </a:r>
            <a:endParaRPr lang="en-US" dirty="0"/>
          </a:p>
        </p:txBody>
      </p:sp>
      <p:sp>
        <p:nvSpPr>
          <p:cNvPr id="26" name="Rectangle 25"/>
          <p:cNvSpPr/>
          <p:nvPr/>
        </p:nvSpPr>
        <p:spPr>
          <a:xfrm>
            <a:off x="9171841" y="4009464"/>
            <a:ext cx="580716" cy="23961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S2</a:t>
            </a:r>
            <a:endParaRPr lang="en-US" dirty="0"/>
          </a:p>
        </p:txBody>
      </p:sp>
      <p:sp>
        <p:nvSpPr>
          <p:cNvPr id="27" name="Rectangle 26"/>
          <p:cNvSpPr/>
          <p:nvPr/>
        </p:nvSpPr>
        <p:spPr>
          <a:xfrm>
            <a:off x="10039103" y="4018472"/>
            <a:ext cx="580716" cy="23961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S3</a:t>
            </a:r>
            <a:endParaRPr lang="en-US" dirty="0"/>
          </a:p>
        </p:txBody>
      </p:sp>
      <p:sp>
        <p:nvSpPr>
          <p:cNvPr id="28" name="Rectangle 27"/>
          <p:cNvSpPr/>
          <p:nvPr/>
        </p:nvSpPr>
        <p:spPr>
          <a:xfrm>
            <a:off x="8333805" y="4917120"/>
            <a:ext cx="580716" cy="23961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S1</a:t>
            </a:r>
            <a:endParaRPr lang="en-US" dirty="0"/>
          </a:p>
        </p:txBody>
      </p:sp>
      <p:sp>
        <p:nvSpPr>
          <p:cNvPr id="29" name="Rectangle 28"/>
          <p:cNvSpPr/>
          <p:nvPr/>
        </p:nvSpPr>
        <p:spPr>
          <a:xfrm>
            <a:off x="9164738" y="4908112"/>
            <a:ext cx="580716" cy="23961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S2</a:t>
            </a:r>
            <a:endParaRPr lang="en-US" dirty="0"/>
          </a:p>
        </p:txBody>
      </p:sp>
      <p:sp>
        <p:nvSpPr>
          <p:cNvPr id="30" name="Rectangle 29"/>
          <p:cNvSpPr/>
          <p:nvPr/>
        </p:nvSpPr>
        <p:spPr>
          <a:xfrm>
            <a:off x="10032000" y="4917120"/>
            <a:ext cx="580716" cy="23961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S3</a:t>
            </a:r>
            <a:endParaRPr lang="en-US" dirty="0"/>
          </a:p>
        </p:txBody>
      </p:sp>
      <p:sp>
        <p:nvSpPr>
          <p:cNvPr id="31" name="Rectangle 30"/>
          <p:cNvSpPr/>
          <p:nvPr/>
        </p:nvSpPr>
        <p:spPr>
          <a:xfrm>
            <a:off x="2973563" y="3055203"/>
            <a:ext cx="291868" cy="192172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/>
              <a:t>S1</a:t>
            </a:r>
            <a:endParaRPr lang="en-US" sz="800" dirty="0"/>
          </a:p>
        </p:txBody>
      </p:sp>
      <p:sp>
        <p:nvSpPr>
          <p:cNvPr id="32" name="Rectangle 31"/>
          <p:cNvSpPr/>
          <p:nvPr/>
        </p:nvSpPr>
        <p:spPr>
          <a:xfrm>
            <a:off x="3542425" y="3055203"/>
            <a:ext cx="291868" cy="192172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3" name="Rectangle 32"/>
          <p:cNvSpPr/>
          <p:nvPr/>
        </p:nvSpPr>
        <p:spPr>
          <a:xfrm>
            <a:off x="4117925" y="3060994"/>
            <a:ext cx="291868" cy="192172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Rectangle 33"/>
          <p:cNvSpPr/>
          <p:nvPr/>
        </p:nvSpPr>
        <p:spPr>
          <a:xfrm>
            <a:off x="2933455" y="3882968"/>
            <a:ext cx="291868" cy="192172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Rectangle 34"/>
          <p:cNvSpPr/>
          <p:nvPr/>
        </p:nvSpPr>
        <p:spPr>
          <a:xfrm>
            <a:off x="3541122" y="3895166"/>
            <a:ext cx="291868" cy="192172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" name="Rectangle 35"/>
          <p:cNvSpPr/>
          <p:nvPr/>
        </p:nvSpPr>
        <p:spPr>
          <a:xfrm>
            <a:off x="4084742" y="3868061"/>
            <a:ext cx="291868" cy="192172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Rectangle 36"/>
          <p:cNvSpPr/>
          <p:nvPr/>
        </p:nvSpPr>
        <p:spPr>
          <a:xfrm>
            <a:off x="2854703" y="4744537"/>
            <a:ext cx="291868" cy="192172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Rectangle 37"/>
          <p:cNvSpPr/>
          <p:nvPr/>
        </p:nvSpPr>
        <p:spPr>
          <a:xfrm>
            <a:off x="3462370" y="4756735"/>
            <a:ext cx="291868" cy="192172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Rectangle 38"/>
          <p:cNvSpPr/>
          <p:nvPr/>
        </p:nvSpPr>
        <p:spPr>
          <a:xfrm>
            <a:off x="4005990" y="4729630"/>
            <a:ext cx="291868" cy="192172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Rectangle 39"/>
          <p:cNvSpPr/>
          <p:nvPr/>
        </p:nvSpPr>
        <p:spPr>
          <a:xfrm>
            <a:off x="3532979" y="3049745"/>
            <a:ext cx="291868" cy="192172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/>
              <a:t>S1</a:t>
            </a:r>
            <a:endParaRPr lang="en-US" sz="800" dirty="0"/>
          </a:p>
        </p:txBody>
      </p:sp>
      <p:sp>
        <p:nvSpPr>
          <p:cNvPr id="41" name="Rectangle 40"/>
          <p:cNvSpPr/>
          <p:nvPr/>
        </p:nvSpPr>
        <p:spPr>
          <a:xfrm>
            <a:off x="4106134" y="3049745"/>
            <a:ext cx="291868" cy="192172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/>
              <a:t>S1</a:t>
            </a:r>
            <a:endParaRPr lang="en-US" sz="800" dirty="0"/>
          </a:p>
        </p:txBody>
      </p:sp>
      <p:sp>
        <p:nvSpPr>
          <p:cNvPr id="42" name="Rectangle 41"/>
          <p:cNvSpPr/>
          <p:nvPr/>
        </p:nvSpPr>
        <p:spPr>
          <a:xfrm>
            <a:off x="2941282" y="3904574"/>
            <a:ext cx="291868" cy="192172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/>
              <a:t>S1</a:t>
            </a:r>
            <a:endParaRPr lang="en-US" sz="800" dirty="0"/>
          </a:p>
        </p:txBody>
      </p:sp>
      <p:sp>
        <p:nvSpPr>
          <p:cNvPr id="43" name="Rectangle 42"/>
          <p:cNvSpPr/>
          <p:nvPr/>
        </p:nvSpPr>
        <p:spPr>
          <a:xfrm>
            <a:off x="3551159" y="3913378"/>
            <a:ext cx="291868" cy="192172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/>
              <a:t>S1</a:t>
            </a:r>
            <a:endParaRPr lang="en-US" sz="800" dirty="0"/>
          </a:p>
        </p:txBody>
      </p:sp>
      <p:sp>
        <p:nvSpPr>
          <p:cNvPr id="44" name="Rectangle 43"/>
          <p:cNvSpPr/>
          <p:nvPr/>
        </p:nvSpPr>
        <p:spPr>
          <a:xfrm>
            <a:off x="4082081" y="3853170"/>
            <a:ext cx="291868" cy="192172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/>
              <a:t>S1</a:t>
            </a:r>
            <a:endParaRPr lang="en-US" sz="800" dirty="0"/>
          </a:p>
        </p:txBody>
      </p:sp>
      <p:sp>
        <p:nvSpPr>
          <p:cNvPr id="45" name="Rectangle 44"/>
          <p:cNvSpPr/>
          <p:nvPr/>
        </p:nvSpPr>
        <p:spPr>
          <a:xfrm>
            <a:off x="2865306" y="4715940"/>
            <a:ext cx="291868" cy="192172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/>
              <a:t>S1</a:t>
            </a:r>
            <a:endParaRPr lang="en-US" sz="800" dirty="0"/>
          </a:p>
        </p:txBody>
      </p:sp>
      <p:sp>
        <p:nvSpPr>
          <p:cNvPr id="46" name="Rectangle 45"/>
          <p:cNvSpPr/>
          <p:nvPr/>
        </p:nvSpPr>
        <p:spPr>
          <a:xfrm>
            <a:off x="3481232" y="4756735"/>
            <a:ext cx="291868" cy="192172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/>
              <a:t>S1</a:t>
            </a:r>
            <a:endParaRPr lang="en-US" sz="800" dirty="0"/>
          </a:p>
        </p:txBody>
      </p:sp>
      <p:sp>
        <p:nvSpPr>
          <p:cNvPr id="47" name="Rectangle 46"/>
          <p:cNvSpPr/>
          <p:nvPr/>
        </p:nvSpPr>
        <p:spPr>
          <a:xfrm>
            <a:off x="3998802" y="4729630"/>
            <a:ext cx="291868" cy="192172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/>
              <a:t>S1</a:t>
            </a:r>
            <a:endParaRPr lang="en-US" sz="800" dirty="0"/>
          </a:p>
        </p:txBody>
      </p:sp>
    </p:spTree>
    <p:extLst>
      <p:ext uri="{BB962C8B-B14F-4D97-AF65-F5344CB8AC3E}">
        <p14:creationId xmlns:p14="http://schemas.microsoft.com/office/powerpoint/2010/main" val="226183953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82675" y="2003901"/>
            <a:ext cx="6251766" cy="3994785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185810" y="0"/>
            <a:ext cx="170704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evOps Team Criteria</a:t>
            </a:r>
            <a:endParaRPr lang="en-US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7" name="Rectangle 601"/>
          <p:cNvSpPr/>
          <p:nvPr/>
        </p:nvSpPr>
        <p:spPr>
          <a:xfrm>
            <a:off x="8322247" y="6311456"/>
            <a:ext cx="416973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/>
              <a:t>Reference: Harvard business School</a:t>
            </a:r>
            <a:endParaRPr lang="en-US" b="1" dirty="0"/>
          </a:p>
        </p:txBody>
      </p:sp>
      <p:sp>
        <p:nvSpPr>
          <p:cNvPr id="8" name="Rectangle 701"/>
          <p:cNvSpPr/>
          <p:nvPr/>
        </p:nvSpPr>
        <p:spPr>
          <a:xfrm>
            <a:off x="3082675" y="2003901"/>
            <a:ext cx="731336" cy="34225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1</a:t>
            </a:r>
            <a:endParaRPr lang="en-US" dirty="0"/>
          </a:p>
        </p:txBody>
      </p:sp>
      <p:sp>
        <p:nvSpPr>
          <p:cNvPr id="9" name="Rectangle 8"/>
          <p:cNvSpPr/>
          <p:nvPr/>
        </p:nvSpPr>
        <p:spPr>
          <a:xfrm>
            <a:off x="3814010" y="2003900"/>
            <a:ext cx="2586789" cy="34225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2</a:t>
            </a:r>
            <a:endParaRPr lang="en-US" dirty="0"/>
          </a:p>
        </p:txBody>
      </p:sp>
      <p:sp>
        <p:nvSpPr>
          <p:cNvPr id="10" name="Rectangle 9"/>
          <p:cNvSpPr/>
          <p:nvPr/>
        </p:nvSpPr>
        <p:spPr>
          <a:xfrm>
            <a:off x="6400797" y="2003899"/>
            <a:ext cx="2153655" cy="34225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3</a:t>
            </a:r>
            <a:endParaRPr lang="en-US" dirty="0"/>
          </a:p>
        </p:txBody>
      </p:sp>
      <p:sp>
        <p:nvSpPr>
          <p:cNvPr id="11" name="Rectangle 10"/>
          <p:cNvSpPr/>
          <p:nvPr/>
        </p:nvSpPr>
        <p:spPr>
          <a:xfrm>
            <a:off x="8578778" y="2003899"/>
            <a:ext cx="731336" cy="34225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4</a:t>
            </a:r>
            <a:endParaRPr lang="en-US" dirty="0"/>
          </a:p>
        </p:txBody>
      </p:sp>
      <p:sp>
        <p:nvSpPr>
          <p:cNvPr id="12" name="Rectangle 11"/>
          <p:cNvSpPr/>
          <p:nvPr/>
        </p:nvSpPr>
        <p:spPr>
          <a:xfrm>
            <a:off x="3082673" y="2353304"/>
            <a:ext cx="731336" cy="1003507"/>
          </a:xfrm>
          <a:prstGeom prst="rect">
            <a:avLst/>
          </a:prstGeom>
          <a:solidFill>
            <a:schemeClr val="bg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5</a:t>
            </a:r>
            <a:endParaRPr lang="en-US" dirty="0"/>
          </a:p>
        </p:txBody>
      </p:sp>
      <p:sp>
        <p:nvSpPr>
          <p:cNvPr id="13" name="Rectangle 12"/>
          <p:cNvSpPr/>
          <p:nvPr/>
        </p:nvSpPr>
        <p:spPr>
          <a:xfrm>
            <a:off x="3814009" y="2353304"/>
            <a:ext cx="2586788" cy="1003507"/>
          </a:xfrm>
          <a:prstGeom prst="rect">
            <a:avLst/>
          </a:prstGeom>
          <a:solidFill>
            <a:schemeClr val="bg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6</a:t>
            </a:r>
            <a:endParaRPr lang="en-US" dirty="0"/>
          </a:p>
        </p:txBody>
      </p:sp>
      <p:sp>
        <p:nvSpPr>
          <p:cNvPr id="14" name="Rectangle 13"/>
          <p:cNvSpPr/>
          <p:nvPr/>
        </p:nvSpPr>
        <p:spPr>
          <a:xfrm>
            <a:off x="6400796" y="2348420"/>
            <a:ext cx="2153655" cy="1051617"/>
          </a:xfrm>
          <a:prstGeom prst="rect">
            <a:avLst/>
          </a:prstGeom>
          <a:solidFill>
            <a:schemeClr val="bg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7</a:t>
            </a:r>
            <a:endParaRPr lang="en-US" dirty="0"/>
          </a:p>
        </p:txBody>
      </p:sp>
      <p:sp>
        <p:nvSpPr>
          <p:cNvPr id="15" name="Rectangle 14"/>
          <p:cNvSpPr/>
          <p:nvPr/>
        </p:nvSpPr>
        <p:spPr>
          <a:xfrm>
            <a:off x="8554451" y="2346156"/>
            <a:ext cx="779990" cy="1010655"/>
          </a:xfrm>
          <a:prstGeom prst="rect">
            <a:avLst/>
          </a:prstGeom>
          <a:solidFill>
            <a:schemeClr val="bg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8</a:t>
            </a:r>
            <a:endParaRPr lang="en-US" dirty="0"/>
          </a:p>
        </p:txBody>
      </p:sp>
      <p:sp>
        <p:nvSpPr>
          <p:cNvPr id="16" name="Rectangle 15"/>
          <p:cNvSpPr/>
          <p:nvPr/>
        </p:nvSpPr>
        <p:spPr>
          <a:xfrm>
            <a:off x="3102724" y="3371981"/>
            <a:ext cx="731336" cy="1003507"/>
          </a:xfrm>
          <a:prstGeom prst="rect">
            <a:avLst/>
          </a:prstGeom>
          <a:solidFill>
            <a:schemeClr val="bg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9</a:t>
            </a:r>
            <a:endParaRPr lang="en-US" dirty="0"/>
          </a:p>
        </p:txBody>
      </p:sp>
      <p:sp>
        <p:nvSpPr>
          <p:cNvPr id="17" name="Rectangle 16"/>
          <p:cNvSpPr/>
          <p:nvPr/>
        </p:nvSpPr>
        <p:spPr>
          <a:xfrm>
            <a:off x="3834060" y="3371981"/>
            <a:ext cx="2586788" cy="1003507"/>
          </a:xfrm>
          <a:prstGeom prst="rect">
            <a:avLst/>
          </a:prstGeom>
          <a:solidFill>
            <a:schemeClr val="bg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10</a:t>
            </a:r>
            <a:endParaRPr lang="en-US" dirty="0"/>
          </a:p>
        </p:txBody>
      </p:sp>
      <p:sp>
        <p:nvSpPr>
          <p:cNvPr id="18" name="Rectangle 17"/>
          <p:cNvSpPr/>
          <p:nvPr/>
        </p:nvSpPr>
        <p:spPr>
          <a:xfrm>
            <a:off x="6420847" y="3384008"/>
            <a:ext cx="2153655" cy="979448"/>
          </a:xfrm>
          <a:prstGeom prst="rect">
            <a:avLst/>
          </a:prstGeom>
          <a:solidFill>
            <a:schemeClr val="bg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11</a:t>
            </a:r>
            <a:endParaRPr lang="en-US" dirty="0"/>
          </a:p>
        </p:txBody>
      </p:sp>
      <p:sp>
        <p:nvSpPr>
          <p:cNvPr id="19" name="Rectangle 18"/>
          <p:cNvSpPr/>
          <p:nvPr/>
        </p:nvSpPr>
        <p:spPr>
          <a:xfrm>
            <a:off x="8574502" y="3364833"/>
            <a:ext cx="779990" cy="1010655"/>
          </a:xfrm>
          <a:prstGeom prst="rect">
            <a:avLst/>
          </a:prstGeom>
          <a:solidFill>
            <a:schemeClr val="bg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12</a:t>
            </a:r>
            <a:endParaRPr lang="en-US" dirty="0"/>
          </a:p>
        </p:txBody>
      </p:sp>
      <p:sp>
        <p:nvSpPr>
          <p:cNvPr id="20" name="Rectangle 19"/>
          <p:cNvSpPr/>
          <p:nvPr/>
        </p:nvSpPr>
        <p:spPr>
          <a:xfrm>
            <a:off x="3102725" y="4406688"/>
            <a:ext cx="731336" cy="778924"/>
          </a:xfrm>
          <a:prstGeom prst="rect">
            <a:avLst/>
          </a:prstGeom>
          <a:solidFill>
            <a:schemeClr val="bg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13</a:t>
            </a:r>
            <a:endParaRPr lang="en-US" dirty="0"/>
          </a:p>
        </p:txBody>
      </p:sp>
      <p:sp>
        <p:nvSpPr>
          <p:cNvPr id="21" name="Rectangle 20"/>
          <p:cNvSpPr/>
          <p:nvPr/>
        </p:nvSpPr>
        <p:spPr>
          <a:xfrm>
            <a:off x="3834061" y="4406688"/>
            <a:ext cx="2586788" cy="778924"/>
          </a:xfrm>
          <a:prstGeom prst="rect">
            <a:avLst/>
          </a:prstGeom>
          <a:solidFill>
            <a:schemeClr val="bg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14</a:t>
            </a:r>
            <a:endParaRPr lang="en-US" dirty="0"/>
          </a:p>
        </p:txBody>
      </p:sp>
      <p:sp>
        <p:nvSpPr>
          <p:cNvPr id="22" name="Rectangle 21"/>
          <p:cNvSpPr/>
          <p:nvPr/>
        </p:nvSpPr>
        <p:spPr>
          <a:xfrm>
            <a:off x="6420848" y="4406682"/>
            <a:ext cx="2153655" cy="787321"/>
          </a:xfrm>
          <a:prstGeom prst="rect">
            <a:avLst/>
          </a:prstGeom>
          <a:solidFill>
            <a:schemeClr val="bg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15</a:t>
            </a:r>
            <a:endParaRPr lang="en-US" dirty="0"/>
          </a:p>
        </p:txBody>
      </p:sp>
      <p:sp>
        <p:nvSpPr>
          <p:cNvPr id="23" name="Rectangle 22"/>
          <p:cNvSpPr/>
          <p:nvPr/>
        </p:nvSpPr>
        <p:spPr>
          <a:xfrm>
            <a:off x="8574503" y="4399540"/>
            <a:ext cx="779990" cy="784472"/>
          </a:xfrm>
          <a:prstGeom prst="rect">
            <a:avLst/>
          </a:prstGeom>
          <a:solidFill>
            <a:schemeClr val="bg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16</a:t>
            </a:r>
            <a:endParaRPr lang="en-US" dirty="0"/>
          </a:p>
        </p:txBody>
      </p:sp>
      <p:sp>
        <p:nvSpPr>
          <p:cNvPr id="24" name="Rectangle 23"/>
          <p:cNvSpPr/>
          <p:nvPr/>
        </p:nvSpPr>
        <p:spPr>
          <a:xfrm>
            <a:off x="3102724" y="5198887"/>
            <a:ext cx="731336" cy="799800"/>
          </a:xfrm>
          <a:prstGeom prst="rect">
            <a:avLst/>
          </a:prstGeom>
          <a:solidFill>
            <a:schemeClr val="bg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17</a:t>
            </a:r>
            <a:endParaRPr lang="en-US" dirty="0"/>
          </a:p>
        </p:txBody>
      </p:sp>
      <p:sp>
        <p:nvSpPr>
          <p:cNvPr id="25" name="Rectangle 24"/>
          <p:cNvSpPr/>
          <p:nvPr/>
        </p:nvSpPr>
        <p:spPr>
          <a:xfrm>
            <a:off x="3834060" y="5198887"/>
            <a:ext cx="2586788" cy="799800"/>
          </a:xfrm>
          <a:prstGeom prst="rect">
            <a:avLst/>
          </a:prstGeom>
          <a:solidFill>
            <a:schemeClr val="bg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18</a:t>
            </a:r>
            <a:endParaRPr lang="en-US" dirty="0"/>
          </a:p>
        </p:txBody>
      </p:sp>
      <p:sp>
        <p:nvSpPr>
          <p:cNvPr id="26" name="Rectangle 25"/>
          <p:cNvSpPr/>
          <p:nvPr/>
        </p:nvSpPr>
        <p:spPr>
          <a:xfrm>
            <a:off x="6420847" y="5222945"/>
            <a:ext cx="2153655" cy="780625"/>
          </a:xfrm>
          <a:prstGeom prst="rect">
            <a:avLst/>
          </a:prstGeom>
          <a:solidFill>
            <a:schemeClr val="bg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19</a:t>
            </a:r>
            <a:endParaRPr lang="en-US" dirty="0"/>
          </a:p>
        </p:txBody>
      </p:sp>
      <p:sp>
        <p:nvSpPr>
          <p:cNvPr id="27" name="Rectangle 26"/>
          <p:cNvSpPr/>
          <p:nvPr/>
        </p:nvSpPr>
        <p:spPr>
          <a:xfrm>
            <a:off x="8574502" y="5191738"/>
            <a:ext cx="779990" cy="805497"/>
          </a:xfrm>
          <a:prstGeom prst="rect">
            <a:avLst/>
          </a:prstGeom>
          <a:solidFill>
            <a:schemeClr val="bg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20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9277922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832414" y="1984787"/>
            <a:ext cx="6070026" cy="4033014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2240" y="1984787"/>
            <a:ext cx="5547934" cy="4192176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7792542" y="6341273"/>
            <a:ext cx="416973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/>
              <a:t>Reference: Harvard business School</a:t>
            </a:r>
            <a:endParaRPr lang="en-US" b="1" dirty="0"/>
          </a:p>
        </p:txBody>
      </p:sp>
      <p:sp>
        <p:nvSpPr>
          <p:cNvPr id="10" name="Rectangle 9"/>
          <p:cNvSpPr/>
          <p:nvPr/>
        </p:nvSpPr>
        <p:spPr>
          <a:xfrm>
            <a:off x="381205" y="3611641"/>
            <a:ext cx="1824750" cy="56692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/>
              <a:t>Central Administration </a:t>
            </a:r>
            <a:r>
              <a:rPr lang="en-US" sz="1000" dirty="0" err="1"/>
              <a:t>Systemss</a:t>
            </a:r>
            <a:r>
              <a:rPr lang="en-US" sz="1000" dirty="0"/>
              <a:t>()</a:t>
            </a:r>
          </a:p>
        </p:txBody>
      </p:sp>
      <p:sp>
        <p:nvSpPr>
          <p:cNvPr id="11" name="Rectangle 10"/>
          <p:cNvSpPr/>
          <p:nvPr/>
        </p:nvSpPr>
        <p:spPr>
          <a:xfrm>
            <a:off x="381205" y="2323187"/>
            <a:ext cx="1896420" cy="92571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/>
              <a:t>ASystems ()</a:t>
            </a:r>
          </a:p>
          <a:p>
            <a:pPr algn="ctr"/>
            <a:endParaRPr lang="en-US" sz="1000"/>
          </a:p>
          <a:p>
            <a:pPr algn="ctr"/>
            <a:endParaRPr lang="en-US" sz="1000"/>
          </a:p>
          <a:p>
            <a:pPr algn="ctr"/>
            <a:endParaRPr lang="en-US" sz="1000"/>
          </a:p>
          <a:p>
            <a:pPr algn="ctr"/>
            <a:endParaRPr lang="en-US" sz="1000" dirty="0"/>
          </a:p>
        </p:txBody>
      </p:sp>
      <p:sp>
        <p:nvSpPr>
          <p:cNvPr id="13" name="Rectangle 12"/>
          <p:cNvSpPr/>
          <p:nvPr/>
        </p:nvSpPr>
        <p:spPr>
          <a:xfrm>
            <a:off x="2419865" y="2334324"/>
            <a:ext cx="863057" cy="292347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/>
              <a:t>App Services</a:t>
            </a:r>
          </a:p>
          <a:p>
            <a:pPr algn="ctr"/>
            <a:r>
              <a:rPr lang="en-US" sz="1200"/>
              <a:t>Practices</a:t>
            </a:r>
          </a:p>
          <a:p>
            <a:pPr algn="ctr"/>
            <a:endParaRPr lang="en-US" sz="1200"/>
          </a:p>
          <a:p>
            <a:pPr algn="ctr"/>
            <a:endParaRPr lang="en-US" sz="1200"/>
          </a:p>
          <a:p>
            <a:pPr algn="ctr"/>
            <a:endParaRPr lang="en-US" sz="1200"/>
          </a:p>
          <a:p>
            <a:pPr algn="ctr"/>
            <a:endParaRPr lang="en-US" sz="1200"/>
          </a:p>
          <a:p>
            <a:pPr algn="ctr"/>
            <a:endParaRPr lang="en-US" sz="1200"/>
          </a:p>
          <a:p>
            <a:pPr algn="ctr"/>
            <a:endParaRPr lang="en-US" sz="1200"/>
          </a:p>
          <a:p>
            <a:pPr algn="ctr"/>
            <a:endParaRPr lang="en-US" sz="1200"/>
          </a:p>
          <a:p>
            <a:pPr algn="ctr"/>
            <a:endParaRPr lang="en-US" sz="1200" dirty="0"/>
          </a:p>
        </p:txBody>
      </p:sp>
      <p:sp>
        <p:nvSpPr>
          <p:cNvPr id="14" name="Rectangle 13"/>
          <p:cNvSpPr/>
          <p:nvPr/>
        </p:nvSpPr>
        <p:spPr>
          <a:xfrm>
            <a:off x="6083381" y="4994511"/>
            <a:ext cx="2182706" cy="734095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/>
              <a:t>Cloud Operational Services()</a:t>
            </a:r>
          </a:p>
          <a:p>
            <a:pPr algn="ctr"/>
            <a:endParaRPr lang="en-US" dirty="0"/>
          </a:p>
        </p:txBody>
      </p:sp>
      <p:sp>
        <p:nvSpPr>
          <p:cNvPr id="16" name="Rectangle 15"/>
          <p:cNvSpPr/>
          <p:nvPr/>
        </p:nvSpPr>
        <p:spPr>
          <a:xfrm>
            <a:off x="6040348" y="4123541"/>
            <a:ext cx="2182706" cy="7469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/>
              <a:t>Cloud IT Provider Services()</a:t>
            </a:r>
          </a:p>
          <a:p>
            <a:pPr algn="ctr"/>
            <a:endParaRPr lang="en-US" sz="1000" dirty="0"/>
          </a:p>
        </p:txBody>
      </p:sp>
      <p:sp>
        <p:nvSpPr>
          <p:cNvPr id="18" name="Rectangle 17"/>
          <p:cNvSpPr/>
          <p:nvPr/>
        </p:nvSpPr>
        <p:spPr>
          <a:xfrm>
            <a:off x="10184914" y="2501236"/>
            <a:ext cx="1439411" cy="3017520"/>
          </a:xfrm>
          <a:prstGeom prst="rect">
            <a:avLst/>
          </a:prstGeom>
          <a:solidFill>
            <a:schemeClr val="bg2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/>
              <a:t>Future State</a:t>
            </a:r>
            <a:endParaRPr lang="en-US" dirty="0"/>
          </a:p>
        </p:txBody>
      </p:sp>
      <p:sp>
        <p:nvSpPr>
          <p:cNvPr id="19" name="Rectangle 18"/>
          <p:cNvSpPr/>
          <p:nvPr/>
        </p:nvSpPr>
        <p:spPr>
          <a:xfrm>
            <a:off x="10249397" y="4376711"/>
            <a:ext cx="1318768" cy="1275009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/>
              <a:t>NEW</a:t>
            </a:r>
          </a:p>
          <a:p>
            <a:pPr algn="ctr"/>
            <a:r>
              <a:rPr lang="en-US" sz="1400"/>
              <a:t>Infrastructure </a:t>
            </a:r>
          </a:p>
          <a:p>
            <a:pPr algn="ctr"/>
            <a:r>
              <a:rPr lang="en-US" sz="1400"/>
              <a:t>Services</a:t>
            </a:r>
            <a:endParaRPr lang="en-US" sz="1400" dirty="0"/>
          </a:p>
        </p:txBody>
      </p:sp>
      <p:sp>
        <p:nvSpPr>
          <p:cNvPr id="20" name="Rectangle 19"/>
          <p:cNvSpPr/>
          <p:nvPr/>
        </p:nvSpPr>
        <p:spPr>
          <a:xfrm>
            <a:off x="10255536" y="3025931"/>
            <a:ext cx="1318768" cy="1275009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NEW</a:t>
            </a:r>
          </a:p>
          <a:p>
            <a:pPr algn="ctr"/>
            <a:r>
              <a:rPr lang="en-US"/>
              <a:t>Application</a:t>
            </a:r>
          </a:p>
          <a:p>
            <a:pPr algn="ctr"/>
            <a:r>
              <a:rPr lang="en-US"/>
              <a:t>Services</a:t>
            </a:r>
            <a:endParaRPr lang="en-US" dirty="0"/>
          </a:p>
        </p:txBody>
      </p:sp>
      <p:sp>
        <p:nvSpPr>
          <p:cNvPr id="21" name="Rectangle 20"/>
          <p:cNvSpPr/>
          <p:nvPr/>
        </p:nvSpPr>
        <p:spPr>
          <a:xfrm>
            <a:off x="142240" y="1593298"/>
            <a:ext cx="5690174" cy="49522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Rectangle 21"/>
          <p:cNvSpPr/>
          <p:nvPr/>
        </p:nvSpPr>
        <p:spPr>
          <a:xfrm>
            <a:off x="6040347" y="3300396"/>
            <a:ext cx="2182706" cy="734095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Clients Cloud()</a:t>
            </a:r>
          </a:p>
          <a:p>
            <a:pPr algn="ctr"/>
            <a:endParaRPr lang="en-US" dirty="0"/>
          </a:p>
        </p:txBody>
      </p:sp>
      <p:sp>
        <p:nvSpPr>
          <p:cNvPr id="26" name="Rectangle 25"/>
          <p:cNvSpPr/>
          <p:nvPr/>
        </p:nvSpPr>
        <p:spPr>
          <a:xfrm>
            <a:off x="8322247" y="3248897"/>
            <a:ext cx="1059092" cy="262503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1200"/>
              <a:t>Cloud Center of Excellence</a:t>
            </a:r>
            <a:endParaRPr lang="en-US" sz="1200" dirty="0"/>
          </a:p>
        </p:txBody>
      </p:sp>
      <p:sp>
        <p:nvSpPr>
          <p:cNvPr id="27" name="Rectangle 26"/>
          <p:cNvSpPr/>
          <p:nvPr/>
        </p:nvSpPr>
        <p:spPr>
          <a:xfrm>
            <a:off x="8440695" y="3976816"/>
            <a:ext cx="835099" cy="290944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/>
              <a:t>Knowledge Sharing</a:t>
            </a:r>
            <a:endParaRPr lang="en-US" sz="900" dirty="0"/>
          </a:p>
        </p:txBody>
      </p:sp>
      <p:sp>
        <p:nvSpPr>
          <p:cNvPr id="28" name="Rectangle 27"/>
          <p:cNvSpPr/>
          <p:nvPr/>
        </p:nvSpPr>
        <p:spPr>
          <a:xfrm>
            <a:off x="8448715" y="4514237"/>
            <a:ext cx="835099" cy="290944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/>
              <a:t>Stardards &amp; Best practices</a:t>
            </a:r>
            <a:endParaRPr lang="en-US" sz="900" dirty="0"/>
          </a:p>
        </p:txBody>
      </p:sp>
      <p:sp>
        <p:nvSpPr>
          <p:cNvPr id="29" name="Rectangle 28"/>
          <p:cNvSpPr/>
          <p:nvPr/>
        </p:nvSpPr>
        <p:spPr>
          <a:xfrm>
            <a:off x="8448715" y="5067673"/>
            <a:ext cx="835099" cy="290944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/>
              <a:t>Architecture &amp; Design</a:t>
            </a:r>
            <a:endParaRPr lang="en-US" sz="900" dirty="0"/>
          </a:p>
        </p:txBody>
      </p:sp>
      <p:sp>
        <p:nvSpPr>
          <p:cNvPr id="30" name="Rectangle 29"/>
          <p:cNvSpPr/>
          <p:nvPr/>
        </p:nvSpPr>
        <p:spPr>
          <a:xfrm>
            <a:off x="6142905" y="5422421"/>
            <a:ext cx="1006334" cy="234837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/>
              <a:t>Cloud Operations</a:t>
            </a:r>
            <a:endParaRPr lang="en-US" sz="800" b="1" dirty="0"/>
          </a:p>
        </p:txBody>
      </p:sp>
      <p:sp>
        <p:nvSpPr>
          <p:cNvPr id="31" name="Rectangle 30"/>
          <p:cNvSpPr/>
          <p:nvPr/>
        </p:nvSpPr>
        <p:spPr>
          <a:xfrm>
            <a:off x="7180057" y="5422421"/>
            <a:ext cx="1006334" cy="234837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/>
              <a:t>Disaster Recovery</a:t>
            </a:r>
            <a:endParaRPr lang="en-US" sz="800" b="1" dirty="0"/>
          </a:p>
        </p:txBody>
      </p:sp>
      <p:sp>
        <p:nvSpPr>
          <p:cNvPr id="32" name="Rectangle 31"/>
          <p:cNvSpPr/>
          <p:nvPr/>
        </p:nvSpPr>
        <p:spPr>
          <a:xfrm>
            <a:off x="6142905" y="4574680"/>
            <a:ext cx="1006334" cy="249255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/>
              <a:t>Network &amp; Security</a:t>
            </a:r>
            <a:endParaRPr lang="en-US" sz="800" b="1" dirty="0"/>
          </a:p>
        </p:txBody>
      </p:sp>
      <p:sp>
        <p:nvSpPr>
          <p:cNvPr id="33" name="Rectangle 32"/>
          <p:cNvSpPr/>
          <p:nvPr/>
        </p:nvSpPr>
        <p:spPr>
          <a:xfrm>
            <a:off x="7180057" y="4574680"/>
            <a:ext cx="1006334" cy="234837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/>
              <a:t>Billing &amp; Account Managment</a:t>
            </a:r>
            <a:endParaRPr lang="en-US" sz="800" b="1" dirty="0"/>
          </a:p>
        </p:txBody>
      </p:sp>
      <p:sp>
        <p:nvSpPr>
          <p:cNvPr id="34" name="Rectangle 33"/>
          <p:cNvSpPr/>
          <p:nvPr/>
        </p:nvSpPr>
        <p:spPr>
          <a:xfrm>
            <a:off x="6238089" y="3741357"/>
            <a:ext cx="475131" cy="234837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 dirty="0" err="1"/>
              <a:t>IaaS</a:t>
            </a:r>
            <a:endParaRPr lang="en-US" sz="800" b="1" dirty="0"/>
          </a:p>
        </p:txBody>
      </p:sp>
      <p:sp>
        <p:nvSpPr>
          <p:cNvPr id="35" name="Rectangle 34"/>
          <p:cNvSpPr/>
          <p:nvPr/>
        </p:nvSpPr>
        <p:spPr>
          <a:xfrm>
            <a:off x="6901368" y="3741357"/>
            <a:ext cx="460664" cy="234837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 dirty="0" err="1"/>
              <a:t>PaaS</a:t>
            </a:r>
            <a:endParaRPr lang="en-US" sz="800" b="1" dirty="0"/>
          </a:p>
        </p:txBody>
      </p:sp>
      <p:sp>
        <p:nvSpPr>
          <p:cNvPr id="36" name="Rectangle 35"/>
          <p:cNvSpPr/>
          <p:nvPr/>
        </p:nvSpPr>
        <p:spPr>
          <a:xfrm>
            <a:off x="7562210" y="3754887"/>
            <a:ext cx="460664" cy="234837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 dirty="0"/>
              <a:t>SaaS</a:t>
            </a:r>
          </a:p>
        </p:txBody>
      </p:sp>
      <p:sp>
        <p:nvSpPr>
          <p:cNvPr id="37" name="Rectangle 36"/>
          <p:cNvSpPr/>
          <p:nvPr/>
        </p:nvSpPr>
        <p:spPr>
          <a:xfrm>
            <a:off x="4153005" y="2009386"/>
            <a:ext cx="1439411" cy="3017520"/>
          </a:xfrm>
          <a:prstGeom prst="rect">
            <a:avLst/>
          </a:prstGeom>
          <a:solidFill>
            <a:schemeClr val="bg2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/>
              <a:t>Future State</a:t>
            </a:r>
            <a:endParaRPr lang="en-US" dirty="0"/>
          </a:p>
        </p:txBody>
      </p:sp>
      <p:sp>
        <p:nvSpPr>
          <p:cNvPr id="38" name="Rectangle 37"/>
          <p:cNvSpPr/>
          <p:nvPr/>
        </p:nvSpPr>
        <p:spPr>
          <a:xfrm>
            <a:off x="4217488" y="3884861"/>
            <a:ext cx="1318768" cy="1275009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/>
              <a:t>NEW</a:t>
            </a:r>
          </a:p>
          <a:p>
            <a:pPr algn="ctr"/>
            <a:r>
              <a:rPr lang="en-US" sz="1400"/>
              <a:t>Infrastructure </a:t>
            </a:r>
          </a:p>
          <a:p>
            <a:pPr algn="ctr"/>
            <a:r>
              <a:rPr lang="en-US" sz="1400"/>
              <a:t>Services</a:t>
            </a:r>
            <a:endParaRPr lang="en-US" sz="1400" dirty="0"/>
          </a:p>
        </p:txBody>
      </p:sp>
      <p:sp>
        <p:nvSpPr>
          <p:cNvPr id="39" name="Rectangle 38"/>
          <p:cNvSpPr/>
          <p:nvPr/>
        </p:nvSpPr>
        <p:spPr>
          <a:xfrm>
            <a:off x="4223627" y="2534081"/>
            <a:ext cx="1318768" cy="1275009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NEW</a:t>
            </a:r>
          </a:p>
          <a:p>
            <a:pPr algn="ctr"/>
            <a:r>
              <a:rPr lang="en-US"/>
              <a:t>Application</a:t>
            </a:r>
          </a:p>
          <a:p>
            <a:pPr algn="ctr"/>
            <a:r>
              <a:rPr lang="en-US"/>
              <a:t>Services</a:t>
            </a:r>
            <a:endParaRPr lang="en-US" dirty="0"/>
          </a:p>
        </p:txBody>
      </p:sp>
      <p:sp>
        <p:nvSpPr>
          <p:cNvPr id="40" name="Rectangle 39"/>
          <p:cNvSpPr/>
          <p:nvPr/>
        </p:nvSpPr>
        <p:spPr>
          <a:xfrm>
            <a:off x="2477184" y="3611641"/>
            <a:ext cx="748417" cy="729105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/>
              <a:t>Developer and Service Management Toolset</a:t>
            </a:r>
            <a:endParaRPr lang="en-US" sz="900" b="1" dirty="0"/>
          </a:p>
        </p:txBody>
      </p:sp>
      <p:sp>
        <p:nvSpPr>
          <p:cNvPr id="41" name="Rectangle 40"/>
          <p:cNvSpPr/>
          <p:nvPr/>
        </p:nvSpPr>
        <p:spPr>
          <a:xfrm>
            <a:off x="393498" y="3309809"/>
            <a:ext cx="1896420" cy="92571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/>
              <a:t>ASystems ()</a:t>
            </a:r>
          </a:p>
          <a:p>
            <a:pPr algn="ctr"/>
            <a:endParaRPr lang="en-US" sz="1000"/>
          </a:p>
          <a:p>
            <a:pPr algn="ctr"/>
            <a:endParaRPr lang="en-US" sz="1000"/>
          </a:p>
          <a:p>
            <a:pPr algn="ctr"/>
            <a:endParaRPr lang="en-US" sz="1000"/>
          </a:p>
          <a:p>
            <a:pPr algn="ctr"/>
            <a:endParaRPr lang="en-US" sz="1000" dirty="0"/>
          </a:p>
        </p:txBody>
      </p:sp>
      <p:sp>
        <p:nvSpPr>
          <p:cNvPr id="42" name="Rectangle 41"/>
          <p:cNvSpPr/>
          <p:nvPr/>
        </p:nvSpPr>
        <p:spPr>
          <a:xfrm>
            <a:off x="358552" y="4331271"/>
            <a:ext cx="1896420" cy="92571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/>
              <a:t>ASystems ()</a:t>
            </a:r>
          </a:p>
          <a:p>
            <a:pPr algn="ctr"/>
            <a:endParaRPr lang="en-US" sz="1000"/>
          </a:p>
          <a:p>
            <a:pPr algn="ctr"/>
            <a:endParaRPr lang="en-US" sz="1000"/>
          </a:p>
          <a:p>
            <a:pPr algn="ctr"/>
            <a:endParaRPr lang="en-US" sz="1000"/>
          </a:p>
          <a:p>
            <a:pPr algn="ctr"/>
            <a:endParaRPr lang="en-US" sz="1000" dirty="0"/>
          </a:p>
        </p:txBody>
      </p:sp>
      <p:sp>
        <p:nvSpPr>
          <p:cNvPr id="44" name="Rectangle 43"/>
          <p:cNvSpPr/>
          <p:nvPr/>
        </p:nvSpPr>
        <p:spPr>
          <a:xfrm>
            <a:off x="458482" y="3025931"/>
            <a:ext cx="567785" cy="163806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/>
              <a:t>s1</a:t>
            </a:r>
            <a:endParaRPr lang="en-US" sz="800" dirty="0"/>
          </a:p>
        </p:txBody>
      </p:sp>
      <p:sp>
        <p:nvSpPr>
          <p:cNvPr id="45" name="Rectangle 44"/>
          <p:cNvSpPr/>
          <p:nvPr/>
        </p:nvSpPr>
        <p:spPr>
          <a:xfrm>
            <a:off x="1124025" y="3021247"/>
            <a:ext cx="474809" cy="168489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/>
              <a:t>s1</a:t>
            </a:r>
            <a:endParaRPr lang="en-US" sz="800" dirty="0"/>
          </a:p>
        </p:txBody>
      </p:sp>
      <p:sp>
        <p:nvSpPr>
          <p:cNvPr id="46" name="Rectangle 45"/>
          <p:cNvSpPr/>
          <p:nvPr/>
        </p:nvSpPr>
        <p:spPr>
          <a:xfrm>
            <a:off x="1753244" y="3010883"/>
            <a:ext cx="462266" cy="178853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/>
              <a:t>s1</a:t>
            </a:r>
            <a:endParaRPr lang="en-US" sz="800" dirty="0"/>
          </a:p>
        </p:txBody>
      </p:sp>
      <p:sp>
        <p:nvSpPr>
          <p:cNvPr id="47" name="Rectangle 46"/>
          <p:cNvSpPr/>
          <p:nvPr/>
        </p:nvSpPr>
        <p:spPr>
          <a:xfrm>
            <a:off x="442041" y="4019839"/>
            <a:ext cx="567785" cy="163806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/>
              <a:t>s1</a:t>
            </a:r>
            <a:endParaRPr lang="en-US" sz="800" dirty="0"/>
          </a:p>
        </p:txBody>
      </p:sp>
      <p:sp>
        <p:nvSpPr>
          <p:cNvPr id="48" name="Rectangle 47"/>
          <p:cNvSpPr/>
          <p:nvPr/>
        </p:nvSpPr>
        <p:spPr>
          <a:xfrm>
            <a:off x="1107584" y="4015155"/>
            <a:ext cx="474809" cy="168489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/>
              <a:t>s1</a:t>
            </a:r>
            <a:endParaRPr lang="en-US" sz="800" dirty="0"/>
          </a:p>
        </p:txBody>
      </p:sp>
      <p:sp>
        <p:nvSpPr>
          <p:cNvPr id="49" name="Rectangle 48"/>
          <p:cNvSpPr/>
          <p:nvPr/>
        </p:nvSpPr>
        <p:spPr>
          <a:xfrm>
            <a:off x="1736803" y="4004791"/>
            <a:ext cx="462266" cy="178853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/>
              <a:t>s1</a:t>
            </a:r>
            <a:endParaRPr lang="en-US" sz="800" dirty="0"/>
          </a:p>
        </p:txBody>
      </p:sp>
      <p:sp>
        <p:nvSpPr>
          <p:cNvPr id="50" name="Rectangle 49"/>
          <p:cNvSpPr/>
          <p:nvPr/>
        </p:nvSpPr>
        <p:spPr>
          <a:xfrm>
            <a:off x="442041" y="3745234"/>
            <a:ext cx="567785" cy="163806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/>
              <a:t>s1</a:t>
            </a:r>
            <a:endParaRPr lang="en-US" sz="800" dirty="0"/>
          </a:p>
        </p:txBody>
      </p:sp>
      <p:sp>
        <p:nvSpPr>
          <p:cNvPr id="51" name="Rectangle 50"/>
          <p:cNvSpPr/>
          <p:nvPr/>
        </p:nvSpPr>
        <p:spPr>
          <a:xfrm>
            <a:off x="1107584" y="3740550"/>
            <a:ext cx="474809" cy="168489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/>
              <a:t>s1</a:t>
            </a:r>
            <a:endParaRPr lang="en-US" sz="800" dirty="0"/>
          </a:p>
        </p:txBody>
      </p:sp>
      <p:sp>
        <p:nvSpPr>
          <p:cNvPr id="52" name="Rectangle 51"/>
          <p:cNvSpPr/>
          <p:nvPr/>
        </p:nvSpPr>
        <p:spPr>
          <a:xfrm>
            <a:off x="1736803" y="3730186"/>
            <a:ext cx="462266" cy="178853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/>
              <a:t>s1</a:t>
            </a:r>
            <a:endParaRPr lang="en-US" sz="800" dirty="0"/>
          </a:p>
        </p:txBody>
      </p:sp>
      <p:sp>
        <p:nvSpPr>
          <p:cNvPr id="53" name="Rectangle 52"/>
          <p:cNvSpPr/>
          <p:nvPr/>
        </p:nvSpPr>
        <p:spPr>
          <a:xfrm>
            <a:off x="457729" y="2754515"/>
            <a:ext cx="567785" cy="163806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/>
              <a:t>s1</a:t>
            </a:r>
            <a:endParaRPr lang="en-US" sz="800" dirty="0"/>
          </a:p>
        </p:txBody>
      </p:sp>
      <p:sp>
        <p:nvSpPr>
          <p:cNvPr id="54" name="Rectangle 53"/>
          <p:cNvSpPr/>
          <p:nvPr/>
        </p:nvSpPr>
        <p:spPr>
          <a:xfrm>
            <a:off x="1123272" y="2749831"/>
            <a:ext cx="474809" cy="168489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/>
              <a:t>s1</a:t>
            </a:r>
            <a:endParaRPr lang="en-US" sz="800" dirty="0"/>
          </a:p>
        </p:txBody>
      </p:sp>
      <p:sp>
        <p:nvSpPr>
          <p:cNvPr id="55" name="Rectangle 54"/>
          <p:cNvSpPr/>
          <p:nvPr/>
        </p:nvSpPr>
        <p:spPr>
          <a:xfrm>
            <a:off x="1752491" y="2739467"/>
            <a:ext cx="462266" cy="178853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/>
              <a:t>s1</a:t>
            </a:r>
            <a:endParaRPr lang="en-US" sz="800" dirty="0"/>
          </a:p>
        </p:txBody>
      </p:sp>
      <p:sp>
        <p:nvSpPr>
          <p:cNvPr id="56" name="Rectangle 55"/>
          <p:cNvSpPr/>
          <p:nvPr/>
        </p:nvSpPr>
        <p:spPr>
          <a:xfrm>
            <a:off x="461386" y="4730802"/>
            <a:ext cx="567785" cy="163806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/>
              <a:t>s1</a:t>
            </a:r>
            <a:endParaRPr lang="en-US" sz="800" dirty="0"/>
          </a:p>
        </p:txBody>
      </p:sp>
      <p:sp>
        <p:nvSpPr>
          <p:cNvPr id="57" name="Rectangle 56"/>
          <p:cNvSpPr/>
          <p:nvPr/>
        </p:nvSpPr>
        <p:spPr>
          <a:xfrm>
            <a:off x="1126929" y="4726118"/>
            <a:ext cx="474809" cy="168489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/>
              <a:t>s1</a:t>
            </a:r>
            <a:endParaRPr lang="en-US" sz="800" dirty="0"/>
          </a:p>
        </p:txBody>
      </p:sp>
      <p:sp>
        <p:nvSpPr>
          <p:cNvPr id="58" name="Rectangle 57"/>
          <p:cNvSpPr/>
          <p:nvPr/>
        </p:nvSpPr>
        <p:spPr>
          <a:xfrm>
            <a:off x="1756148" y="4715754"/>
            <a:ext cx="462266" cy="178853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/>
              <a:t>s1</a:t>
            </a:r>
            <a:endParaRPr lang="en-US" sz="800" dirty="0"/>
          </a:p>
        </p:txBody>
      </p:sp>
      <p:sp>
        <p:nvSpPr>
          <p:cNvPr id="59" name="Rectangle 58"/>
          <p:cNvSpPr/>
          <p:nvPr/>
        </p:nvSpPr>
        <p:spPr>
          <a:xfrm>
            <a:off x="434612" y="5016058"/>
            <a:ext cx="567785" cy="163806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/>
              <a:t>s1</a:t>
            </a:r>
            <a:endParaRPr lang="en-US" sz="800" dirty="0"/>
          </a:p>
        </p:txBody>
      </p:sp>
      <p:sp>
        <p:nvSpPr>
          <p:cNvPr id="60" name="Rectangle 59"/>
          <p:cNvSpPr/>
          <p:nvPr/>
        </p:nvSpPr>
        <p:spPr>
          <a:xfrm>
            <a:off x="1100155" y="5011374"/>
            <a:ext cx="474809" cy="168489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/>
              <a:t>s1</a:t>
            </a:r>
            <a:endParaRPr lang="en-US" sz="800" dirty="0"/>
          </a:p>
        </p:txBody>
      </p:sp>
      <p:sp>
        <p:nvSpPr>
          <p:cNvPr id="61" name="Rectangle 60"/>
          <p:cNvSpPr/>
          <p:nvPr/>
        </p:nvSpPr>
        <p:spPr>
          <a:xfrm>
            <a:off x="1729374" y="5001010"/>
            <a:ext cx="462266" cy="178853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/>
              <a:t>s1</a:t>
            </a:r>
            <a:endParaRPr lang="en-US" sz="800" dirty="0"/>
          </a:p>
        </p:txBody>
      </p:sp>
      <p:sp>
        <p:nvSpPr>
          <p:cNvPr id="62" name="TextBox 61"/>
          <p:cNvSpPr txBox="1"/>
          <p:nvPr/>
        </p:nvSpPr>
        <p:spPr>
          <a:xfrm>
            <a:off x="1598081" y="778404"/>
            <a:ext cx="17068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Future-State</a:t>
            </a:r>
            <a:endParaRPr lang="en-US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63" name="Rectangle 62"/>
          <p:cNvSpPr/>
          <p:nvPr/>
        </p:nvSpPr>
        <p:spPr>
          <a:xfrm>
            <a:off x="5832414" y="1735798"/>
            <a:ext cx="6271354" cy="49522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882957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hange Management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144163" y="1868179"/>
            <a:ext cx="6116320" cy="4265786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>
          <a:xfrm>
            <a:off x="8322247" y="6311456"/>
            <a:ext cx="416973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/>
              <a:t>Reference: Harvard business School</a:t>
            </a:r>
            <a:endParaRPr lang="en-US" b="1" dirty="0"/>
          </a:p>
        </p:txBody>
      </p:sp>
      <p:sp>
        <p:nvSpPr>
          <p:cNvPr id="6" name="Rectangle 5"/>
          <p:cNvSpPr/>
          <p:nvPr/>
        </p:nvSpPr>
        <p:spPr>
          <a:xfrm>
            <a:off x="3657600" y="3031958"/>
            <a:ext cx="806116" cy="15641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1</a:t>
            </a:r>
            <a:endParaRPr lang="en-US" dirty="0"/>
          </a:p>
        </p:txBody>
      </p:sp>
      <p:sp>
        <p:nvSpPr>
          <p:cNvPr id="7" name="Rectangle 602"/>
          <p:cNvSpPr/>
          <p:nvPr/>
        </p:nvSpPr>
        <p:spPr>
          <a:xfrm>
            <a:off x="4772526" y="3031958"/>
            <a:ext cx="806116" cy="15641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2</a:t>
            </a:r>
            <a:endParaRPr lang="en-US" dirty="0"/>
          </a:p>
        </p:txBody>
      </p:sp>
      <p:sp>
        <p:nvSpPr>
          <p:cNvPr id="8" name="Rectangle 702"/>
          <p:cNvSpPr/>
          <p:nvPr/>
        </p:nvSpPr>
        <p:spPr>
          <a:xfrm>
            <a:off x="5901578" y="3034991"/>
            <a:ext cx="806116" cy="15641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3</a:t>
            </a:r>
            <a:endParaRPr lang="en-US" dirty="0"/>
          </a:p>
        </p:txBody>
      </p:sp>
      <p:sp>
        <p:nvSpPr>
          <p:cNvPr id="9" name="Rectangle 8"/>
          <p:cNvSpPr/>
          <p:nvPr/>
        </p:nvSpPr>
        <p:spPr>
          <a:xfrm>
            <a:off x="7177972" y="3031958"/>
            <a:ext cx="806116" cy="15641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4</a:t>
            </a:r>
            <a:endParaRPr lang="en-US" dirty="0"/>
          </a:p>
        </p:txBody>
      </p:sp>
      <p:sp>
        <p:nvSpPr>
          <p:cNvPr id="10" name="Rectangle 9"/>
          <p:cNvSpPr/>
          <p:nvPr/>
        </p:nvSpPr>
        <p:spPr>
          <a:xfrm>
            <a:off x="3424990" y="3569368"/>
            <a:ext cx="3553326" cy="54543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5</a:t>
            </a:r>
            <a:endParaRPr lang="en-US" dirty="0"/>
          </a:p>
        </p:txBody>
      </p:sp>
      <p:sp>
        <p:nvSpPr>
          <p:cNvPr id="11" name="Rectangle 10"/>
          <p:cNvSpPr/>
          <p:nvPr/>
        </p:nvSpPr>
        <p:spPr>
          <a:xfrm>
            <a:off x="3652543" y="3766457"/>
            <a:ext cx="806116" cy="15641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6</a:t>
            </a:r>
            <a:endParaRPr lang="en-US" dirty="0"/>
          </a:p>
        </p:txBody>
      </p:sp>
      <p:sp>
        <p:nvSpPr>
          <p:cNvPr id="12" name="Rectangle 11"/>
          <p:cNvSpPr/>
          <p:nvPr/>
        </p:nvSpPr>
        <p:spPr>
          <a:xfrm>
            <a:off x="4793626" y="3773045"/>
            <a:ext cx="806116" cy="15641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7</a:t>
            </a:r>
            <a:endParaRPr lang="en-US" dirty="0"/>
          </a:p>
        </p:txBody>
      </p:sp>
      <p:sp>
        <p:nvSpPr>
          <p:cNvPr id="13" name="Rectangle 12"/>
          <p:cNvSpPr/>
          <p:nvPr/>
        </p:nvSpPr>
        <p:spPr>
          <a:xfrm>
            <a:off x="5934709" y="3773045"/>
            <a:ext cx="806116" cy="15641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8</a:t>
            </a:r>
            <a:endParaRPr lang="en-US" dirty="0"/>
          </a:p>
        </p:txBody>
      </p:sp>
      <p:sp>
        <p:nvSpPr>
          <p:cNvPr id="14" name="Rectangle 13"/>
          <p:cNvSpPr/>
          <p:nvPr/>
        </p:nvSpPr>
        <p:spPr>
          <a:xfrm>
            <a:off x="7150075" y="3578534"/>
            <a:ext cx="834013" cy="54543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9</a:t>
            </a:r>
            <a:endParaRPr lang="en-US" dirty="0"/>
          </a:p>
        </p:txBody>
      </p:sp>
      <p:sp>
        <p:nvSpPr>
          <p:cNvPr id="15" name="Rectangle 14"/>
          <p:cNvSpPr/>
          <p:nvPr/>
        </p:nvSpPr>
        <p:spPr>
          <a:xfrm>
            <a:off x="3398920" y="4220050"/>
            <a:ext cx="4613063" cy="86930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11</a:t>
            </a:r>
            <a:endParaRPr lang="en-US" dirty="0"/>
          </a:p>
        </p:txBody>
      </p:sp>
      <p:sp>
        <p:nvSpPr>
          <p:cNvPr id="16" name="Rectangle 15"/>
          <p:cNvSpPr/>
          <p:nvPr/>
        </p:nvSpPr>
        <p:spPr>
          <a:xfrm>
            <a:off x="3652543" y="4432199"/>
            <a:ext cx="4167983" cy="247187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12</a:t>
            </a:r>
            <a:endParaRPr lang="en-US" dirty="0"/>
          </a:p>
        </p:txBody>
      </p:sp>
      <p:sp>
        <p:nvSpPr>
          <p:cNvPr id="17" name="Rectangle 16"/>
          <p:cNvSpPr/>
          <p:nvPr/>
        </p:nvSpPr>
        <p:spPr>
          <a:xfrm>
            <a:off x="3652543" y="4775471"/>
            <a:ext cx="4167983" cy="247187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13</a:t>
            </a:r>
            <a:endParaRPr lang="en-US" dirty="0"/>
          </a:p>
        </p:txBody>
      </p:sp>
      <p:sp>
        <p:nvSpPr>
          <p:cNvPr id="18" name="Rectangle 17"/>
          <p:cNvSpPr/>
          <p:nvPr/>
        </p:nvSpPr>
        <p:spPr>
          <a:xfrm>
            <a:off x="3403978" y="5107102"/>
            <a:ext cx="4613063" cy="86930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14</a:t>
            </a:r>
            <a:endParaRPr lang="en-US" dirty="0"/>
          </a:p>
        </p:txBody>
      </p:sp>
      <p:sp>
        <p:nvSpPr>
          <p:cNvPr id="19" name="Rectangle 18"/>
          <p:cNvSpPr/>
          <p:nvPr/>
        </p:nvSpPr>
        <p:spPr>
          <a:xfrm>
            <a:off x="3657601" y="5319251"/>
            <a:ext cx="4167983" cy="247187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15</a:t>
            </a:r>
            <a:endParaRPr lang="en-US" dirty="0"/>
          </a:p>
        </p:txBody>
      </p:sp>
      <p:sp>
        <p:nvSpPr>
          <p:cNvPr id="20" name="Rectangle 19"/>
          <p:cNvSpPr/>
          <p:nvPr/>
        </p:nvSpPr>
        <p:spPr>
          <a:xfrm>
            <a:off x="3657601" y="5662523"/>
            <a:ext cx="4167983" cy="247187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16</a:t>
            </a:r>
            <a:endParaRPr lang="en-US" dirty="0"/>
          </a:p>
        </p:txBody>
      </p:sp>
      <p:sp>
        <p:nvSpPr>
          <p:cNvPr id="21" name="Rectangle 20"/>
          <p:cNvSpPr/>
          <p:nvPr/>
        </p:nvSpPr>
        <p:spPr>
          <a:xfrm>
            <a:off x="4793626" y="5674232"/>
            <a:ext cx="157104" cy="21387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17</a:t>
            </a:r>
            <a:endParaRPr lang="en-US" dirty="0"/>
          </a:p>
        </p:txBody>
      </p:sp>
      <p:sp>
        <p:nvSpPr>
          <p:cNvPr id="22" name="Rectangle 21"/>
          <p:cNvSpPr/>
          <p:nvPr/>
        </p:nvSpPr>
        <p:spPr>
          <a:xfrm>
            <a:off x="5196684" y="5681906"/>
            <a:ext cx="157104" cy="21387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18</a:t>
            </a:r>
            <a:endParaRPr lang="en-US" dirty="0"/>
          </a:p>
        </p:txBody>
      </p:sp>
      <p:sp>
        <p:nvSpPr>
          <p:cNvPr id="23" name="Rectangle 22"/>
          <p:cNvSpPr/>
          <p:nvPr/>
        </p:nvSpPr>
        <p:spPr>
          <a:xfrm>
            <a:off x="6052370" y="5682979"/>
            <a:ext cx="157104" cy="21387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19</a:t>
            </a:r>
            <a:endParaRPr lang="en-US" dirty="0"/>
          </a:p>
        </p:txBody>
      </p:sp>
      <p:sp>
        <p:nvSpPr>
          <p:cNvPr id="24" name="Rectangle 23"/>
          <p:cNvSpPr/>
          <p:nvPr/>
        </p:nvSpPr>
        <p:spPr>
          <a:xfrm>
            <a:off x="6550590" y="5682979"/>
            <a:ext cx="157104" cy="21387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20</a:t>
            </a:r>
            <a:endParaRPr lang="en-US" dirty="0"/>
          </a:p>
        </p:txBody>
      </p:sp>
      <p:sp>
        <p:nvSpPr>
          <p:cNvPr id="25" name="Rectangle 24"/>
          <p:cNvSpPr/>
          <p:nvPr/>
        </p:nvSpPr>
        <p:spPr>
          <a:xfrm>
            <a:off x="8152865" y="3573090"/>
            <a:ext cx="958647" cy="240332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10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1395933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4323834"/>
            <a:ext cx="5821146" cy="2534166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50895" y="1001063"/>
            <a:ext cx="7641055" cy="4930928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8322247" y="6311456"/>
            <a:ext cx="353122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/>
              <a:t>Reference: </a:t>
            </a:r>
            <a:r>
              <a:rPr lang="en-US" b="1" dirty="0"/>
              <a:t>Harvard business School</a:t>
            </a:r>
          </a:p>
        </p:txBody>
      </p:sp>
      <p:sp>
        <p:nvSpPr>
          <p:cNvPr id="7" name="Rectangle 603"/>
          <p:cNvSpPr/>
          <p:nvPr/>
        </p:nvSpPr>
        <p:spPr>
          <a:xfrm>
            <a:off x="108284" y="4854641"/>
            <a:ext cx="1118937" cy="391127"/>
          </a:xfrm>
          <a:prstGeom prst="rect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1</a:t>
            </a:r>
            <a:endParaRPr lang="en-US" dirty="0"/>
          </a:p>
        </p:txBody>
      </p:sp>
      <p:sp>
        <p:nvSpPr>
          <p:cNvPr id="8" name="Rectangle 703"/>
          <p:cNvSpPr/>
          <p:nvPr/>
        </p:nvSpPr>
        <p:spPr>
          <a:xfrm>
            <a:off x="1227221" y="4854641"/>
            <a:ext cx="1612232" cy="391127"/>
          </a:xfrm>
          <a:prstGeom prst="rect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2</a:t>
            </a:r>
            <a:endParaRPr lang="en-US" dirty="0"/>
          </a:p>
        </p:txBody>
      </p:sp>
      <p:sp>
        <p:nvSpPr>
          <p:cNvPr id="9" name="Rectangle 8"/>
          <p:cNvSpPr/>
          <p:nvPr/>
        </p:nvSpPr>
        <p:spPr>
          <a:xfrm>
            <a:off x="2839453" y="4854641"/>
            <a:ext cx="2731168" cy="391127"/>
          </a:xfrm>
          <a:prstGeom prst="rect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3</a:t>
            </a:r>
            <a:endParaRPr lang="en-US" dirty="0"/>
          </a:p>
        </p:txBody>
      </p:sp>
      <p:sp>
        <p:nvSpPr>
          <p:cNvPr id="10" name="Rectangle 9"/>
          <p:cNvSpPr/>
          <p:nvPr/>
        </p:nvSpPr>
        <p:spPr>
          <a:xfrm>
            <a:off x="108283" y="5245768"/>
            <a:ext cx="5462337" cy="1323474"/>
          </a:xfrm>
          <a:prstGeom prst="rect">
            <a:avLst/>
          </a:prstGeom>
          <a:solidFill>
            <a:schemeClr val="bg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4</a:t>
            </a:r>
            <a:endParaRPr lang="en-US" dirty="0"/>
          </a:p>
        </p:txBody>
      </p:sp>
      <p:sp>
        <p:nvSpPr>
          <p:cNvPr id="11" name="Rectangle 10"/>
          <p:cNvSpPr/>
          <p:nvPr/>
        </p:nvSpPr>
        <p:spPr>
          <a:xfrm>
            <a:off x="6905171" y="5264900"/>
            <a:ext cx="4718517" cy="456778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11</a:t>
            </a:r>
            <a:endParaRPr lang="en-US" dirty="0"/>
          </a:p>
        </p:txBody>
      </p:sp>
      <p:sp>
        <p:nvSpPr>
          <p:cNvPr id="12" name="Rectangle 11"/>
          <p:cNvSpPr/>
          <p:nvPr/>
        </p:nvSpPr>
        <p:spPr>
          <a:xfrm>
            <a:off x="6916693" y="2598821"/>
            <a:ext cx="419232" cy="2466474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10</a:t>
            </a:r>
            <a:endParaRPr lang="en-US" dirty="0"/>
          </a:p>
        </p:txBody>
      </p:sp>
      <p:sp>
        <p:nvSpPr>
          <p:cNvPr id="13" name="Rectangle 12"/>
          <p:cNvSpPr/>
          <p:nvPr/>
        </p:nvSpPr>
        <p:spPr>
          <a:xfrm>
            <a:off x="11204456" y="2614048"/>
            <a:ext cx="419232" cy="2466474"/>
          </a:xfrm>
          <a:prstGeom prst="rect">
            <a:avLst/>
          </a:prstGeom>
          <a:solidFill>
            <a:schemeClr val="tx2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12</a:t>
            </a:r>
            <a:endParaRPr lang="en-US" dirty="0"/>
          </a:p>
        </p:txBody>
      </p:sp>
      <p:sp>
        <p:nvSpPr>
          <p:cNvPr id="14" name="Rectangle 13"/>
          <p:cNvSpPr/>
          <p:nvPr/>
        </p:nvSpPr>
        <p:spPr>
          <a:xfrm>
            <a:off x="10378543" y="1910972"/>
            <a:ext cx="1258533" cy="467799"/>
          </a:xfrm>
          <a:prstGeom prst="rect">
            <a:avLst/>
          </a:prstGeom>
          <a:solidFill>
            <a:schemeClr val="bg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9</a:t>
            </a:r>
            <a:endParaRPr lang="en-US" dirty="0"/>
          </a:p>
        </p:txBody>
      </p:sp>
      <p:sp>
        <p:nvSpPr>
          <p:cNvPr id="15" name="Rectangle 14"/>
          <p:cNvSpPr/>
          <p:nvPr/>
        </p:nvSpPr>
        <p:spPr>
          <a:xfrm>
            <a:off x="6940083" y="1902422"/>
            <a:ext cx="3283587" cy="467799"/>
          </a:xfrm>
          <a:prstGeom prst="rect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5</a:t>
            </a:r>
            <a:endParaRPr lang="en-US" dirty="0"/>
          </a:p>
        </p:txBody>
      </p:sp>
      <p:sp>
        <p:nvSpPr>
          <p:cNvPr id="16" name="Rectangle 15"/>
          <p:cNvSpPr/>
          <p:nvPr/>
        </p:nvSpPr>
        <p:spPr>
          <a:xfrm>
            <a:off x="9299341" y="2088330"/>
            <a:ext cx="591958" cy="236672"/>
          </a:xfrm>
          <a:prstGeom prst="rect">
            <a:avLst/>
          </a:prstGeom>
          <a:solidFill>
            <a:schemeClr val="bg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8</a:t>
            </a:r>
            <a:endParaRPr lang="en-US" dirty="0"/>
          </a:p>
        </p:txBody>
      </p:sp>
      <p:sp>
        <p:nvSpPr>
          <p:cNvPr id="17" name="Rectangle 16"/>
          <p:cNvSpPr/>
          <p:nvPr/>
        </p:nvSpPr>
        <p:spPr>
          <a:xfrm>
            <a:off x="8161122" y="2100992"/>
            <a:ext cx="591958" cy="236672"/>
          </a:xfrm>
          <a:prstGeom prst="rect">
            <a:avLst/>
          </a:prstGeom>
          <a:solidFill>
            <a:schemeClr val="bg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7</a:t>
            </a:r>
            <a:endParaRPr lang="en-US" dirty="0"/>
          </a:p>
        </p:txBody>
      </p:sp>
      <p:sp>
        <p:nvSpPr>
          <p:cNvPr id="18" name="Rectangle 17"/>
          <p:cNvSpPr/>
          <p:nvPr/>
        </p:nvSpPr>
        <p:spPr>
          <a:xfrm>
            <a:off x="7121261" y="2100992"/>
            <a:ext cx="591958" cy="236672"/>
          </a:xfrm>
          <a:prstGeom prst="rect">
            <a:avLst/>
          </a:prstGeom>
          <a:solidFill>
            <a:schemeClr val="bg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6</a:t>
            </a:r>
            <a:endParaRPr lang="en-US" dirty="0"/>
          </a:p>
        </p:txBody>
      </p:sp>
      <p:sp>
        <p:nvSpPr>
          <p:cNvPr id="19" name="Oval 18"/>
          <p:cNvSpPr/>
          <p:nvPr/>
        </p:nvSpPr>
        <p:spPr>
          <a:xfrm>
            <a:off x="7838046" y="2875547"/>
            <a:ext cx="2875534" cy="1888957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13</a:t>
            </a:r>
            <a:endParaRPr lang="en-US" dirty="0"/>
          </a:p>
        </p:txBody>
      </p:sp>
      <p:sp>
        <p:nvSpPr>
          <p:cNvPr id="20" name="Rectangle 19"/>
          <p:cNvSpPr/>
          <p:nvPr/>
        </p:nvSpPr>
        <p:spPr>
          <a:xfrm>
            <a:off x="8203381" y="3356388"/>
            <a:ext cx="934752" cy="951340"/>
          </a:xfrm>
          <a:prstGeom prst="rect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14</a:t>
            </a:r>
            <a:endParaRPr lang="en-US" dirty="0"/>
          </a:p>
        </p:txBody>
      </p:sp>
      <p:sp>
        <p:nvSpPr>
          <p:cNvPr id="21" name="Rectangle 20"/>
          <p:cNvSpPr/>
          <p:nvPr/>
        </p:nvSpPr>
        <p:spPr>
          <a:xfrm>
            <a:off x="9401656" y="3361096"/>
            <a:ext cx="934752" cy="951340"/>
          </a:xfrm>
          <a:prstGeom prst="rect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15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804961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2278" y="136525"/>
            <a:ext cx="4982672" cy="2606675"/>
          </a:xfrm>
        </p:spPr>
        <p:txBody>
          <a:bodyPr>
            <a:normAutofit/>
          </a:bodyPr>
          <a:lstStyle/>
          <a:p>
            <a:r>
              <a:rPr lang="en-US" dirty="0"/>
              <a:t>Requirements Survey</a:t>
            </a:r>
          </a:p>
        </p:txBody>
      </p:sp>
      <p:graphicFrame>
        <p:nvGraphicFramePr>
          <p:cNvPr id="5" name="Object 4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423437973"/>
              </p:ext>
            </p:extLst>
          </p:nvPr>
        </p:nvGraphicFramePr>
        <p:xfrm>
          <a:off x="5154613" y="-84138"/>
          <a:ext cx="7038975" cy="68659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5" name="Macro-Enabled Template" r:id="rId3" imgW="6086467" imgH="5937086" progId="Word.DocumentMacroEnabled.12">
                  <p:link updateAutomatic="1"/>
                </p:oleObj>
              </mc:Choice>
              <mc:Fallback>
                <p:oleObj name="Macro-Enabled Template" r:id="rId3" imgW="6086467" imgH="5937086" progId="Word.DocumentMacroEnabled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5154613" y="-84138"/>
                        <a:ext cx="7038975" cy="686593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62123302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heme/theme1.xml><?xml version="1.0" encoding="utf-8"?>
<a:theme xmlns:a="http://schemas.openxmlformats.org/drawingml/2006/main" name="Wisp">
  <a:themeElements>
    <a:clrScheme name="Wisp">
      <a:dk1>
        <a:sysClr val="windowText" lastClr="000000"/>
      </a:dk1>
      <a:lt1>
        <a:sysClr val="window" lastClr="FFFFFF"/>
      </a:lt1>
      <a:dk2>
        <a:srgbClr val="2E5369"/>
      </a:dk2>
      <a:lt2>
        <a:srgbClr val="CFE2E7"/>
      </a:lt2>
      <a:accent1>
        <a:srgbClr val="353535"/>
      </a:accent1>
      <a:accent2>
        <a:srgbClr val="31B4E6"/>
      </a:accent2>
      <a:accent3>
        <a:srgbClr val="265991"/>
      </a:accent3>
      <a:accent4>
        <a:srgbClr val="7E40CC"/>
      </a:accent4>
      <a:accent5>
        <a:srgbClr val="B927E9"/>
      </a:accent5>
      <a:accent6>
        <a:srgbClr val="E833BF"/>
      </a:accent6>
      <a:hlink>
        <a:srgbClr val="2DA0F1"/>
      </a:hlink>
      <a:folHlink>
        <a:srgbClr val="7ED1E6"/>
      </a:folHlink>
    </a:clrScheme>
    <a:fontScheme name="Wisp">
      <a:majorFont>
        <a:latin typeface="Century Gothic" panose="020B0502020202020204"/>
        <a:ea typeface=""/>
        <a:cs typeface=""/>
        <a:font script="Jpan" typeface="メイリオ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 panose="020B0502020202020204"/>
        <a:ea typeface=""/>
        <a:cs typeface=""/>
        <a:font script="Jpan" typeface="メイリオ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Wisp">
      <a:fillStyleLst>
        <a:solidFill>
          <a:schemeClr val="phClr"/>
        </a:solidFill>
        <a:solidFill>
          <a:schemeClr val="phClr">
            <a:tint val="70000"/>
            <a:lumMod val="104000"/>
          </a:schemeClr>
        </a:solidFill>
        <a:gradFill rotWithShape="1">
          <a:gsLst>
            <a:gs pos="0">
              <a:schemeClr val="phClr">
                <a:tint val="96000"/>
                <a:lumMod val="104000"/>
              </a:schemeClr>
            </a:gs>
            <a:gs pos="100000">
              <a:schemeClr val="phClr">
                <a:shade val="98000"/>
                <a:lumMod val="94000"/>
              </a:schemeClr>
            </a:gs>
          </a:gsLst>
          <a:lin ang="5400000" scaled="0"/>
        </a:gradFill>
      </a:fillStyleLst>
      <a:lnStyleLst>
        <a:ln w="9525" cap="rnd" cmpd="sng" algn="ctr">
          <a:solidFill>
            <a:schemeClr val="phClr">
              <a:shade val="90000"/>
            </a:schemeClr>
          </a:solidFill>
          <a:prstDash val="solid"/>
        </a:ln>
        <a:ln w="15875" cap="rnd" cmpd="sng" algn="ctr">
          <a:solidFill>
            <a:schemeClr val="phClr"/>
          </a:solidFill>
          <a:prstDash val="solid"/>
        </a:ln>
        <a:ln w="22225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5400000" rotWithShape="0">
              <a:srgbClr val="000000">
                <a:alpha val="25000"/>
              </a:srgbClr>
            </a:outerShdw>
          </a:effectLst>
        </a:effectStyle>
        <a:effectStyle>
          <a:effectLst>
            <a:outerShdw blurRad="50800" dist="38100" dir="5400000" rotWithShape="0">
              <a:srgbClr val="000000">
                <a:alpha val="60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  <a:lumMod val="120000"/>
              </a:schemeClr>
            </a:gs>
            <a:gs pos="100000">
              <a:schemeClr val="phClr">
                <a:shade val="98000"/>
                <a:satMod val="120000"/>
                <a:lumMod val="98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0000"/>
                <a:satMod val="92000"/>
                <a:lumMod val="120000"/>
              </a:schemeClr>
            </a:gs>
            <a:gs pos="100000">
              <a:schemeClr val="phClr">
                <a:shade val="98000"/>
                <a:satMod val="120000"/>
                <a:lumMod val="98000"/>
              </a:schemeClr>
            </a:gs>
          </a:gsLst>
          <a:path path="circle">
            <a:fillToRect l="50000" t="50000" r="100000" b="10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Wisp" id="{7CB32D59-10C0-40DD-B7BD-2E94284A981C}" vid="{4F34B87B-9C7A-41AE-A6CB-48536223DFFD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Wisp</Template>
  <TotalTime>663</TotalTime>
  <Words>374</Words>
  <Application>Microsoft Office PowerPoint</Application>
  <PresentationFormat>Widescreen</PresentationFormat>
  <Paragraphs>211</Paragraphs>
  <Slides>12</Slides>
  <Notes>1</Notes>
  <HiddenSlides>0</HiddenSlides>
  <MMClips>0</MMClips>
  <ScaleCrop>false</ScaleCrop>
  <HeadingPairs>
    <vt:vector size="10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Links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20" baseType="lpstr">
      <vt:lpstr>Arial</vt:lpstr>
      <vt:lpstr>Calibri</vt:lpstr>
      <vt:lpstr>Century Gothic</vt:lpstr>
      <vt:lpstr>Wingdings</vt:lpstr>
      <vt:lpstr>Wingdings 3</vt:lpstr>
      <vt:lpstr>Wisp</vt:lpstr>
      <vt:lpstr>D:\cloud_devops_cloud_migration_requirements_template.docm</vt:lpstr>
      <vt:lpstr>think-cell Slide</vt:lpstr>
      <vt:lpstr>Cloud Org</vt:lpstr>
      <vt:lpstr>Purpose</vt:lpstr>
      <vt:lpstr>Capgemini offers a structured, tailor-able approach to define the right cloud journey</vt:lpstr>
      <vt:lpstr>PowerPoint Presentation</vt:lpstr>
      <vt:lpstr>PowerPoint Presentation</vt:lpstr>
      <vt:lpstr>PowerPoint Presentation</vt:lpstr>
      <vt:lpstr>Change Management</vt:lpstr>
      <vt:lpstr>PowerPoint Presentation</vt:lpstr>
      <vt:lpstr>Requirements Survey</vt:lpstr>
      <vt:lpstr>Storyboard</vt:lpstr>
      <vt:lpstr>Decision Diagram</vt:lpstr>
      <vt:lpstr>PowerPoint Presentation</vt:lpstr>
    </vt:vector>
  </TitlesOfParts>
  <Company>Capgemini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loud Org</dc:title>
  <dc:creator>Powers, Russell</dc:creator>
  <cp:lastModifiedBy>russell powers</cp:lastModifiedBy>
  <cp:revision>39</cp:revision>
  <dcterms:created xsi:type="dcterms:W3CDTF">2016-09-15T15:01:49Z</dcterms:created>
  <dcterms:modified xsi:type="dcterms:W3CDTF">2017-01-28T00:55:05Z</dcterms:modified>
</cp:coreProperties>
</file>